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authors.xml" ContentType="application/vnd.ms-powerpoint.author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75" r:id="rId7"/>
  </p:sldMasterIdLst>
  <p:notesMasterIdLst>
    <p:notesMasterId r:id="rId18"/>
  </p:notesMasterIdLst>
  <p:sldIdLst>
    <p:sldId id="257" r:id="rId8"/>
    <p:sldId id="399" r:id="rId9"/>
    <p:sldId id="2145705935" r:id="rId10"/>
    <p:sldId id="2142532663" r:id="rId11"/>
    <p:sldId id="2147472072" r:id="rId12"/>
    <p:sldId id="2147472078" r:id="rId13"/>
    <p:sldId id="2147472079" r:id="rId14"/>
    <p:sldId id="2147472077" r:id="rId15"/>
    <p:sldId id="2147472074" r:id="rId16"/>
    <p:sldId id="2147472080" r:id="rId17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67C9E0B-8413-25CC-056E-7A8CD617D05F}" name="Nunez Carracedo, Diego" initials="ND" userId="S::dnunezcarracedo@deloitte.es::d434bc61-6579-4494-9c99-7ba220cf15c9" providerId="AD"/>
  <p188:author id="{6476A8C3-073A-CBB8-35CC-AEB39AE1A97E}" name="Sendin, Samuel" initials="SS" userId="S::ssendin@deloitte.es::4c5a68b0-b2f9-4796-88c4-154ed079d43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A7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50F1E0-2640-41FF-AC44-54BDB5764EA3}" v="441" dt="2026-06-22T08:39:15.708"/>
    <p1510:client id="{38A24D63-255C-5F41-A8BC-0B4EAB5290CB}" v="1" dt="2026-06-22T09:02:30.595"/>
    <p1510:client id="{8E8FF8B8-B8D9-E839-2FCA-DE1CC76685A7}" v="21" dt="2026-06-22T08:56:52.715"/>
    <p1510:client id="{A7CAEE5A-AD59-4A92-BCD3-6345DF4DBF20}" v="71" dt="2026-06-22T09:31:19.928"/>
    <p1510:client id="{D1ADBFC6-8792-456D-9452-3EA0EAB6711E}" v="31" dt="2026-06-22T08:40:48.63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66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microsoft.com/office/2015/10/relationships/revisionInfo" Target="revisionInfo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18C556-5F01-4863-B6D7-A3C1F3737C10}" type="datetimeFigureOut">
              <a:rPr lang="en-GB" smtClean="0"/>
              <a:t>22/06/202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621213"/>
            <a:ext cx="5851525" cy="3779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2161D3-7FCD-4AF7-ADE5-7E7E0983C15C}" type="slidenum">
              <a:rPr lang="en-GB" smtClean="0"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05446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2161D3-7FCD-4AF7-ADE5-7E7E0983C15C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13153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A9C623ED-9A31-E94B-385F-DFBB34F5916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5925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780F328-AED5-8906-766D-F82A3EDD0B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22" name="Picture 2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2C7C937-1E08-40FC-5140-70BC60F823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275" y="342900"/>
            <a:ext cx="1889758" cy="35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748180"/>
      </p:ext>
    </p:extLst>
  </p:cSld>
  <p:clrMapOvr>
    <a:masterClrMapping/>
  </p:clrMapOvr>
  <p:transition>
    <p:fade/>
  </p:transition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FB2FFE14-03CA-6135-58A2-5C311D36512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5925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55E6BE7-3171-6901-D5B3-B1651A59FD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1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4" name="Picture 3" descr="A black and white sign with white text&#10;&#10;AI-generated content may be incorrect.">
            <a:extLst>
              <a:ext uri="{FF2B5EF4-FFF2-40B4-BE49-F238E27FC236}">
                <a16:creationId xmlns:a16="http://schemas.microsoft.com/office/drawing/2014/main" id="{B39A59DB-7290-B378-10D3-72BAC31441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4" y="344025"/>
            <a:ext cx="2105480" cy="66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333083"/>
      </p:ext>
    </p:extLst>
  </p:cSld>
  <p:clrMapOvr>
    <a:masterClrMapping/>
  </p:clrMapOvr>
  <p:transition>
    <p:fade/>
  </p:transition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2879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64D8B7-F26D-9D8B-9BF3-FBBA7E3277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1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58F4C01-34AD-135F-1B2C-3C075F3372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pic>
        <p:nvPicPr>
          <p:cNvPr id="18" name="Picture 17" descr="A white text on a black background&#10;&#10;AI-generated content may be incorrect.">
            <a:extLst>
              <a:ext uri="{FF2B5EF4-FFF2-40B4-BE49-F238E27FC236}">
                <a16:creationId xmlns:a16="http://schemas.microsoft.com/office/drawing/2014/main" id="{A2BFB542-B8F7-A0A3-8699-63E380C257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275" y="342900"/>
            <a:ext cx="1889758" cy="35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295931"/>
      </p:ext>
    </p:extLst>
  </p:cSld>
  <p:clrMapOvr>
    <a:masterClrMapping/>
  </p:clrMapOvr>
  <p:transition>
    <p:fade/>
  </p:transition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Black with tagline logo lockup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2879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FB59A4-1D28-AC61-30F0-4A66ED17FC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1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8630772-05CB-2705-26E3-26840D1718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pic>
        <p:nvPicPr>
          <p:cNvPr id="14" name="Picture 13" descr="A black and white sign with white text&#10;&#10;AI-generated content may be incorrect.">
            <a:extLst>
              <a:ext uri="{FF2B5EF4-FFF2-40B4-BE49-F238E27FC236}">
                <a16:creationId xmlns:a16="http://schemas.microsoft.com/office/drawing/2014/main" id="{F127971A-A1B7-5244-7658-E7D3112A97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4" y="344025"/>
            <a:ext cx="2105480" cy="66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636624"/>
      </p:ext>
    </p:extLst>
  </p:cSld>
  <p:clrMapOvr>
    <a:masterClrMapping/>
  </p:clrMapOvr>
  <p:transition>
    <p:fade/>
  </p:transition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Pale Green with tagline logo lockup">
    <p:bg bwMode="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9A09F874-9939-7788-F7E8-1E902B5632A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5925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48DC6DE-4821-757D-8423-2EAD02B1F2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3" name="Picture 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86FAF9B6-E8E2-6EB9-8DEA-9ABD2321C5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275" y="342900"/>
            <a:ext cx="1889758" cy="35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592291"/>
      </p:ext>
    </p:extLst>
  </p:cSld>
  <p:clrMapOvr>
    <a:masterClrMapping/>
  </p:clrMapOvr>
  <p:transition>
    <p:fade/>
  </p:transition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Pale Green">
    <p:bg bwMode="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81976BE-EAA8-F89C-D5B3-ECA4949B5BC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5925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pic>
        <p:nvPicPr>
          <p:cNvPr id="3" name="Picture 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F9F1D10-94F4-CB26-E52C-8D3B50002B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4" y="344025"/>
            <a:ext cx="2105480" cy="665645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5F72B61-7D34-BED8-FC3A-44410893F7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48014550"/>
      </p:ext>
    </p:extLst>
  </p:cSld>
  <p:clrMapOvr>
    <a:masterClrMapping/>
  </p:clrMapOvr>
  <p:transition>
    <p:fade/>
  </p:transition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Pale-Deloitte Green gradient with tagline logo lockup">
    <p:bg bwMode="gray">
      <p:bgPr>
        <a:gradFill>
          <a:gsLst>
            <a:gs pos="99000">
              <a:schemeClr val="accent1"/>
            </a:gs>
            <a:gs pos="28000">
              <a:schemeClr val="accent6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81976BE-EAA8-F89C-D5B3-ECA4949B5BC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5925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12F3D48-9DE8-2E93-373A-42EEF26DA8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3" name="Picture 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B62085A7-B499-4CD9-A841-934FD3D2E9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275" y="342900"/>
            <a:ext cx="1889758" cy="35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399808"/>
      </p:ext>
    </p:extLst>
  </p:cSld>
  <p:clrMapOvr>
    <a:masterClrMapping/>
  </p:clrMapOvr>
  <p:transition>
    <p:fade/>
  </p:transition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Pale-Deloitte Green gradient">
    <p:bg bwMode="gray">
      <p:bgPr>
        <a:gradFill>
          <a:gsLst>
            <a:gs pos="99000">
              <a:schemeClr val="accent1"/>
            </a:gs>
            <a:gs pos="28000">
              <a:schemeClr val="accent6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81976BE-EAA8-F89C-D5B3-ECA4949B5BC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5925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pic>
        <p:nvPicPr>
          <p:cNvPr id="3" name="Picture 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A5B3F8B8-4933-ACA8-3E0F-EAA428E6C5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4" y="344025"/>
            <a:ext cx="2105480" cy="665645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5EC68A00-1293-7237-ED12-85DAFEDC6A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73726081"/>
      </p:ext>
    </p:extLst>
  </p:cSld>
  <p:clrMapOvr>
    <a:masterClrMapping/>
  </p:clrMapOvr>
  <p:transition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Dark Green with tagline logo lockup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accent6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3F8A2FFF-A4B2-D935-C7DC-1DB5EDE4A71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5925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8AE396A-87D4-1ED8-F7FE-126EC0C0D2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6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4" name="Picture 3" descr="A white text on a black background&#10;&#10;AI-generated content may be incorrect.">
            <a:extLst>
              <a:ext uri="{FF2B5EF4-FFF2-40B4-BE49-F238E27FC236}">
                <a16:creationId xmlns:a16="http://schemas.microsoft.com/office/drawing/2014/main" id="{9953827E-CEFD-2292-9EB4-C21D4BE1D7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275" y="342900"/>
            <a:ext cx="1889758" cy="35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522742"/>
      </p:ext>
    </p:extLst>
  </p:cSld>
  <p:clrMapOvr>
    <a:masterClrMapping/>
  </p:clrMapOvr>
  <p:transition>
    <p:fade/>
  </p:transition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Dark G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accent6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5BCB8175-C467-0B04-B004-47252C8E68C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5925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pic>
        <p:nvPicPr>
          <p:cNvPr id="3" name="Picture 2" descr="A black and white sign with white text&#10;&#10;AI-generated content may be incorrect.">
            <a:extLst>
              <a:ext uri="{FF2B5EF4-FFF2-40B4-BE49-F238E27FC236}">
                <a16:creationId xmlns:a16="http://schemas.microsoft.com/office/drawing/2014/main" id="{9A55A129-93E7-1E87-D540-024135FC70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4" y="344025"/>
            <a:ext cx="2105480" cy="665645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A10A3088-9FF9-6DED-D556-CAA14D06EF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6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11240020"/>
      </p:ext>
    </p:extLst>
  </p:cSld>
  <p:clrMapOvr>
    <a:masterClrMapping/>
  </p:clrMapOvr>
  <p:transition>
    <p:fade/>
  </p:transition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Dark-Bright gradient with tagline logo lockup">
    <p:bg bwMode="gray">
      <p:bgPr>
        <a:gradFill flip="none" rotWithShape="1">
          <a:gsLst>
            <a:gs pos="25000">
              <a:schemeClr val="accent2">
                <a:lumMod val="67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accent6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5925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6B04EA1-34E7-148C-30EB-2569634032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6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2" name="Picture 1" descr="A white text on a black background&#10;&#10;AI-generated content may be incorrect.">
            <a:extLst>
              <a:ext uri="{FF2B5EF4-FFF2-40B4-BE49-F238E27FC236}">
                <a16:creationId xmlns:a16="http://schemas.microsoft.com/office/drawing/2014/main" id="{900DF137-3224-CD79-3680-06EC479206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275" y="342900"/>
            <a:ext cx="1889758" cy="35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575936"/>
      </p:ext>
    </p:extLst>
  </p:cSld>
  <p:clrMapOvr>
    <a:masterClrMapping/>
  </p:clrMapOvr>
  <p:transition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 with tagline logo lockup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7FC5E484-EB26-0B50-B87A-799C320E830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5925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44EDB8B-808A-46D9-821B-329959BFF1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3" name="Picture 1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CD9C57B4-A828-6C17-1321-1D8A9AA92C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4" y="344025"/>
            <a:ext cx="2105480" cy="66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049205"/>
      </p:ext>
    </p:extLst>
  </p:cSld>
  <p:clrMapOvr>
    <a:masterClrMapping/>
  </p:clrMapOvr>
  <p:transition>
    <p:fade/>
  </p:transition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Dark-Bright gradient">
    <p:bg bwMode="gray">
      <p:bgPr>
        <a:gradFill flip="none" rotWithShape="1">
          <a:gsLst>
            <a:gs pos="25000">
              <a:schemeClr val="accent2">
                <a:lumMod val="67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accent6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5925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pic>
        <p:nvPicPr>
          <p:cNvPr id="2" name="Picture 1" descr="A black and white sign with white text&#10;&#10;AI-generated content may be incorrect.">
            <a:extLst>
              <a:ext uri="{FF2B5EF4-FFF2-40B4-BE49-F238E27FC236}">
                <a16:creationId xmlns:a16="http://schemas.microsoft.com/office/drawing/2014/main" id="{07E32491-2CDF-88FA-71BD-4E76EA8E52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4" y="344025"/>
            <a:ext cx="2105480" cy="66564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D133C10A-4483-CC9C-EBFF-C3FC0111D5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6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83602613"/>
      </p:ext>
    </p:extLst>
  </p:cSld>
  <p:clrMapOvr>
    <a:masterClrMapping/>
  </p:clrMapOvr>
  <p:transition>
    <p:fade/>
  </p:transition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-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A239FF85-CD49-BB35-3695-75C424AD97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78319C9-C1E0-6E7E-CB28-5284DD348E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A2DCD59-82EC-79F3-D986-8335F98C3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4" name="Picture 3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9038089-65E5-C92E-ED96-5E74C3ACA6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275" y="342900"/>
            <a:ext cx="1889758" cy="35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666478"/>
      </p:ext>
    </p:extLst>
  </p:cSld>
  <p:clrMapOvr>
    <a:masterClrMapping/>
  </p:clrMapOvr>
  <p:transition>
    <p:fade/>
  </p:transition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-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A239FF85-CD49-BB35-3695-75C424AD97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pic>
        <p:nvPicPr>
          <p:cNvPr id="4" name="Picture 3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87B9140-90D2-F0A3-B074-044095EEFE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4" y="344025"/>
            <a:ext cx="2105480" cy="665645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EBD0AA-43DC-5DCD-9F73-1CBBB9B66DF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C369554-6FAF-E2A0-F081-5CF7B7E9F6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74193827"/>
      </p:ext>
    </p:extLst>
  </p:cSld>
  <p:clrMapOvr>
    <a:masterClrMapping/>
  </p:clrMapOvr>
  <p:transition>
    <p:fade/>
  </p:transition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Full bleed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A239FF85-CD49-BB35-3695-75C424AD97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64A4DEE-2436-499E-24D5-27C54C84E6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1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CED6166-E8A8-CF1C-F517-3AC14D0CC4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pic>
        <p:nvPicPr>
          <p:cNvPr id="6" name="Picture 5" descr="A white text on a black background&#10;&#10;AI-generated content may be incorrect.">
            <a:extLst>
              <a:ext uri="{FF2B5EF4-FFF2-40B4-BE49-F238E27FC236}">
                <a16:creationId xmlns:a16="http://schemas.microsoft.com/office/drawing/2014/main" id="{9955BB5B-A0BB-2DB6-573E-DCF5CE5B6D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275" y="342900"/>
            <a:ext cx="1889758" cy="35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903006"/>
      </p:ext>
    </p:extLst>
  </p:cSld>
  <p:clrMapOvr>
    <a:masterClrMapping/>
  </p:clrMapOvr>
  <p:transition>
    <p:fade/>
  </p:transition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- Full bleed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A239FF85-CD49-BB35-3695-75C424AD97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64A4DEE-2436-499E-24D5-27C54C84E6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1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CED6166-E8A8-CF1C-F517-3AC14D0CC4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pic>
        <p:nvPicPr>
          <p:cNvPr id="6" name="Picture 5" descr="A black and white sign with white text&#10;&#10;AI-generated content may be incorrect.">
            <a:extLst>
              <a:ext uri="{FF2B5EF4-FFF2-40B4-BE49-F238E27FC236}">
                <a16:creationId xmlns:a16="http://schemas.microsoft.com/office/drawing/2014/main" id="{2911877E-D8F8-78C3-EC8D-61B14549C2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4" y="344025"/>
            <a:ext cx="2105480" cy="66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874411"/>
      </p:ext>
    </p:extLst>
  </p:cSld>
  <p:clrMapOvr>
    <a:masterClrMapping/>
  </p:clrMapOvr>
  <p:transition>
    <p:fade/>
  </p:transition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Title, subtitle -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een circle on a green background&#10;&#10;AI-generated content may be incorrect.">
            <a:extLst>
              <a:ext uri="{FF2B5EF4-FFF2-40B4-BE49-F238E27FC236}">
                <a16:creationId xmlns:a16="http://schemas.microsoft.com/office/drawing/2014/main" id="{45E3228C-6488-D962-AD57-9F2A5C5896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" y="428"/>
            <a:ext cx="12190476" cy="6857143"/>
          </a:xfrm>
          <a:prstGeom prst="rect">
            <a:avLst/>
          </a:prstGeom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4E2A9A7-B9A6-B2A7-61F1-158AA83CE2D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0" y="3098800"/>
            <a:ext cx="12192000" cy="660400"/>
          </a:xfr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95000"/>
              </a:lnSpc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C3B24F5-B2D4-4973-E3D4-9A16167036F6}"/>
              </a:ext>
            </a:extLst>
          </p:cNvPr>
          <p:cNvSpPr txBox="1"/>
          <p:nvPr/>
        </p:nvSpPr>
        <p:spPr>
          <a:xfrm>
            <a:off x="11426826" y="6519672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tx2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º›</a:t>
            </a:fld>
            <a:endParaRPr lang="en-US" sz="800" noProof="0" dirty="0">
              <a:solidFill>
                <a:schemeClr val="tx2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D78553-8CC6-FA63-974E-452AE12CB2AC}"/>
              </a:ext>
            </a:extLst>
          </p:cNvPr>
          <p:cNvSpPr txBox="1"/>
          <p:nvPr/>
        </p:nvSpPr>
        <p:spPr>
          <a:xfrm>
            <a:off x="457200" y="6515062"/>
            <a:ext cx="54864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spcBef>
                <a:spcPts val="450"/>
              </a:spcBef>
              <a:buSzPct val="100000"/>
              <a:buFont typeface="Arial"/>
              <a:buNone/>
            </a:pPr>
            <a:r>
              <a:rPr lang="es-ES" sz="800" kern="1200" dirty="0">
                <a:solidFill>
                  <a:schemeClr val="tx2"/>
                </a:solidFill>
                <a:latin typeface="Aptos" panose="020B0004020202020204" pitchFamily="34" charset="0"/>
                <a:ea typeface="+mn-ea"/>
                <a:cs typeface="Calibri" panose="020F0502020204030204" pitchFamily="34" charset="0"/>
              </a:rPr>
              <a:t>© 2026 </a:t>
            </a:r>
            <a:r>
              <a:rPr lang="es-ES" sz="800" kern="1200" dirty="0">
                <a:solidFill>
                  <a:schemeClr val="tx2"/>
                </a:solidFill>
                <a:highlight>
                  <a:srgbClr val="FFFF00"/>
                </a:highlight>
                <a:latin typeface="Aptos" panose="020B0004020202020204" pitchFamily="34" charset="0"/>
                <a:ea typeface="+mn-ea"/>
                <a:cs typeface="Calibri" panose="020F0502020204030204" pitchFamily="34" charset="0"/>
              </a:rPr>
              <a:t>Entidad Legal</a:t>
            </a:r>
            <a:endParaRPr lang="en-US" sz="800" kern="1200" noProof="0" dirty="0">
              <a:solidFill>
                <a:schemeClr val="tx2"/>
              </a:solidFill>
              <a:highlight>
                <a:srgbClr val="FFFF00"/>
              </a:highlight>
              <a:latin typeface="Aptos" panose="020B000402020202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7F9B5D50-B4BF-638A-77B8-5AD76A94CF17}"/>
              </a:ext>
            </a:extLst>
          </p:cNvPr>
          <p:cNvSpPr txBox="1"/>
          <p:nvPr/>
        </p:nvSpPr>
        <p:spPr>
          <a:xfrm>
            <a:off x="6248400" y="6519673"/>
            <a:ext cx="498334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tx2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tx2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tx2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</p:spTree>
    <p:extLst>
      <p:ext uri="{BB962C8B-B14F-4D97-AF65-F5344CB8AC3E}">
        <p14:creationId xmlns:p14="http://schemas.microsoft.com/office/powerpoint/2010/main" val="38964104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, subtitle -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ircle of small green and blue dots&#10;&#10;Description automatically generated">
            <a:extLst>
              <a:ext uri="{FF2B5EF4-FFF2-40B4-BE49-F238E27FC236}">
                <a16:creationId xmlns:a16="http://schemas.microsoft.com/office/drawing/2014/main" id="{42F62BB4-3743-F47D-8111-313BC5CA134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95" t="20842" r="-653" b="1044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4E2A9A7-B9A6-B2A7-61F1-158AA83CE2D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0" y="3098800"/>
            <a:ext cx="12192000" cy="660400"/>
          </a:xfr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95000"/>
              </a:lnSpc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503365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57200" y="1700212"/>
            <a:ext cx="9355138" cy="4657725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1000"/>
            </a:lvl2pPr>
            <a:lvl3pPr>
              <a:spcBef>
                <a:spcPts val="0"/>
              </a:spcBef>
              <a:defRPr sz="1000"/>
            </a:lvl3pPr>
            <a:lvl4pPr>
              <a:spcBef>
                <a:spcPts val="0"/>
              </a:spcBef>
              <a:defRPr sz="1000"/>
            </a:lvl4pPr>
            <a:lvl5pPr>
              <a:spcBef>
                <a:spcPts val="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04EF8B6-E967-110D-F93D-D9B3E64E71D5}"/>
              </a:ext>
            </a:extLst>
          </p:cNvPr>
          <p:cNvSpPr txBox="1"/>
          <p:nvPr/>
        </p:nvSpPr>
        <p:spPr>
          <a:xfrm>
            <a:off x="10091739" y="481771"/>
            <a:ext cx="1657349" cy="1308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s-ES" sz="850" b="1" kern="1200" dirty="0">
                <a:solidFill>
                  <a:srgbClr val="313131"/>
                </a:solidFill>
                <a:highlight>
                  <a:srgbClr val="FFFF00"/>
                </a:highlight>
                <a:latin typeface="Aptos" panose="020B0004020202020204" pitchFamily="34" charset="0"/>
                <a:ea typeface="+mn-ea"/>
                <a:cs typeface="+mn-cs"/>
              </a:rPr>
              <a:t>Entidad Leg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634D206-2571-E176-283E-5946A3D9E1D4}"/>
              </a:ext>
            </a:extLst>
          </p:cNvPr>
          <p:cNvSpPr txBox="1"/>
          <p:nvPr/>
        </p:nvSpPr>
        <p:spPr>
          <a:xfrm>
            <a:off x="10091738" y="612576"/>
            <a:ext cx="1657349" cy="1308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s-ES" sz="850" kern="1200" dirty="0">
                <a:solidFill>
                  <a:schemeClr val="tx1"/>
                </a:solidFill>
                <a:highlight>
                  <a:srgbClr val="FFFF00"/>
                </a:highlight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rección</a:t>
            </a:r>
          </a:p>
        </p:txBody>
      </p:sp>
      <p:pic>
        <p:nvPicPr>
          <p:cNvPr id="3" name="Picture 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59C5EE1E-ABBD-5011-D1FC-E7543971E8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275" y="342900"/>
            <a:ext cx="1889758" cy="35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031212"/>
      </p:ext>
    </p:extLst>
  </p:cSld>
  <p:clrMapOvr>
    <a:masterClrMapping/>
  </p:clrMapOvr>
  <p:transition>
    <p:fade/>
  </p:transition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57200" y="1700212"/>
            <a:ext cx="2660428" cy="466248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000"/>
            </a:lvl1pPr>
            <a:lvl2pPr>
              <a:spcBef>
                <a:spcPts val="439"/>
              </a:spcBef>
              <a:defRPr/>
            </a:lvl2pPr>
            <a:lvl3pPr>
              <a:spcBef>
                <a:spcPts val="439"/>
              </a:spcBef>
              <a:defRPr/>
            </a:lvl3pPr>
            <a:lvl4pPr>
              <a:spcBef>
                <a:spcPts val="439"/>
              </a:spcBef>
              <a:defRPr/>
            </a:lvl4pPr>
            <a:lvl5pPr>
              <a:spcBef>
                <a:spcPts val="43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355999" y="1700212"/>
            <a:ext cx="8393089" cy="466248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1000"/>
            </a:lvl2pPr>
            <a:lvl3pPr>
              <a:spcBef>
                <a:spcPts val="0"/>
              </a:spcBef>
              <a:defRPr sz="1000"/>
            </a:lvl3pPr>
            <a:lvl4pPr>
              <a:spcBef>
                <a:spcPts val="0"/>
              </a:spcBef>
              <a:defRPr sz="1000"/>
            </a:lvl4pPr>
            <a:lvl5pPr>
              <a:spcBef>
                <a:spcPts val="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pic>
        <p:nvPicPr>
          <p:cNvPr id="2" name="Picture 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3AD2626-50D0-1933-B169-53EEAFA860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275" y="342900"/>
            <a:ext cx="1889758" cy="35333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A8E9EB0-1BFF-3378-5E7B-5939002A92CD}"/>
              </a:ext>
            </a:extLst>
          </p:cNvPr>
          <p:cNvSpPr txBox="1"/>
          <p:nvPr/>
        </p:nvSpPr>
        <p:spPr>
          <a:xfrm>
            <a:off x="10091739" y="481771"/>
            <a:ext cx="1657349" cy="1308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s-ES" sz="850" b="1" kern="1200" dirty="0">
                <a:solidFill>
                  <a:srgbClr val="313131"/>
                </a:solidFill>
                <a:highlight>
                  <a:srgbClr val="FFFF00"/>
                </a:highlight>
                <a:latin typeface="Aptos" panose="020B0004020202020204" pitchFamily="34" charset="0"/>
                <a:ea typeface="+mn-ea"/>
                <a:cs typeface="+mn-cs"/>
              </a:rPr>
              <a:t>Entidad Leg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F7F476-45D8-295C-F37E-0752A8EF1150}"/>
              </a:ext>
            </a:extLst>
          </p:cNvPr>
          <p:cNvSpPr txBox="1"/>
          <p:nvPr/>
        </p:nvSpPr>
        <p:spPr>
          <a:xfrm>
            <a:off x="10091738" y="612576"/>
            <a:ext cx="1657349" cy="1308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s-ES" sz="850" kern="1200" dirty="0">
                <a:solidFill>
                  <a:schemeClr val="tx1"/>
                </a:solidFill>
                <a:highlight>
                  <a:srgbClr val="FFFF00"/>
                </a:highlight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rección</a:t>
            </a:r>
          </a:p>
        </p:txBody>
      </p:sp>
    </p:spTree>
    <p:extLst>
      <p:ext uri="{BB962C8B-B14F-4D97-AF65-F5344CB8AC3E}">
        <p14:creationId xmlns:p14="http://schemas.microsoft.com/office/powerpoint/2010/main" val="3358999078"/>
      </p:ext>
    </p:extLst>
  </p:cSld>
  <p:clrMapOvr>
    <a:masterClrMapping/>
  </p:clrMapOvr>
  <p:transition>
    <p:fade/>
  </p:transition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4F550-635D-A756-74B0-A110BCA46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1699456"/>
            <a:ext cx="11304001" cy="51183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s-ES" sz="3600" b="1" dirty="0"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lnSpc>
                <a:spcPct val="95000"/>
              </a:lnSpc>
            </a:pPr>
            <a:r>
              <a:rPr lang="en-US"/>
              <a:t>Click to add tit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15933984"/>
      </p:ext>
    </p:extLst>
  </p:cSld>
  <p:clrMapOvr>
    <a:masterClrMapping/>
  </p:clrMapOvr>
  <p:transition>
    <p:fade/>
  </p:transition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2879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pic>
        <p:nvPicPr>
          <p:cNvPr id="3" name="Picture 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0660B8BC-529B-CA3A-7C06-8E0BBEDE72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275" y="342900"/>
            <a:ext cx="1889758" cy="35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811291"/>
      </p:ext>
    </p:extLst>
  </p:cSld>
  <p:clrMapOvr>
    <a:masterClrMapping/>
  </p:clrMapOvr>
  <p:transition>
    <p:fade/>
  </p:transition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4F550-635D-A756-74B0-A110BCA46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1699456"/>
            <a:ext cx="11304001" cy="51183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s-ES" sz="3600" b="1" dirty="0">
                <a:solidFill>
                  <a:schemeClr val="accent4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lnSpc>
                <a:spcPct val="95000"/>
              </a:lnSpc>
            </a:pPr>
            <a:r>
              <a:rPr lang="en-US"/>
              <a:t>Click to add tit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05441280"/>
      </p:ext>
    </p:extLst>
  </p:cSld>
  <p:clrMapOvr>
    <a:masterClrMapping/>
  </p:clrMapOvr>
  <p:transition>
    <p:fade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gradFill>
          <a:gsLst>
            <a:gs pos="100000">
              <a:schemeClr val="accent1"/>
            </a:gs>
            <a:gs pos="30000">
              <a:schemeClr val="accent6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4F550-635D-A756-74B0-A110BCA46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1676400"/>
            <a:ext cx="11304001" cy="53489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s-ES" sz="3600" b="1" dirty="0">
                <a:solidFill>
                  <a:schemeClr val="accent4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lnSpc>
                <a:spcPct val="95000"/>
              </a:lnSpc>
            </a:pPr>
            <a:r>
              <a:rPr lang="en-US"/>
              <a:t>Click to add tit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63287539"/>
      </p:ext>
    </p:extLst>
  </p:cSld>
  <p:clrMapOvr>
    <a:masterClrMapping/>
  </p:clrMapOvr>
  <p:transition>
    <p:fade/>
  </p:transition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, subtitle - Blac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F58611D-3AB6-8EAE-06CD-E2812F572E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0000" y="1692080"/>
            <a:ext cx="11304000" cy="526298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55608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, subtitle - Black">
    <p:bg>
      <p:bgPr>
        <a:gradFill>
          <a:gsLst>
            <a:gs pos="25000">
              <a:schemeClr val="accent2">
                <a:lumMod val="67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F58611D-3AB6-8EAE-06CD-E2812F572E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0000" y="1692080"/>
            <a:ext cx="11304000" cy="526298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611435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4F550-635D-A756-74B0-A110BCA46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1699456"/>
            <a:ext cx="11304001" cy="51183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s-ES" sz="3600" b="1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lnSpc>
                <a:spcPct val="95000"/>
              </a:lnSpc>
            </a:pPr>
            <a:r>
              <a:rPr lang="en-US"/>
              <a:t>Click to add tit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0968299"/>
      </p:ext>
    </p:extLst>
  </p:cSld>
  <p:clrMapOvr>
    <a:masterClrMapping/>
  </p:clrMapOvr>
  <p:transition>
    <p:fade/>
  </p:transition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, subtitle -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F58611D-3AB6-8EAE-06CD-E2812F572E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0000" y="1692080"/>
            <a:ext cx="11304000" cy="526298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938950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Full-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EE1843C-9C47-5853-9CCF-75A6755EA0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0" y="1682496"/>
            <a:ext cx="4267341" cy="81711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432000" tIns="144000" rIns="432000" bIns="144000" anchor="t">
            <a:spAutoFit/>
          </a:bodyPr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noProof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41503074"/>
      </p:ext>
    </p:extLst>
  </p:cSld>
  <p:clrMapOvr>
    <a:masterClrMapping/>
  </p:clrMapOvr>
  <p:transition>
    <p:fade/>
  </p:transition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FF77892-4318-FA85-40C3-8D82DF4AF9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65020"/>
      </p:ext>
    </p:extLst>
  </p:cSld>
  <p:clrMapOvr>
    <a:masterClrMapping/>
  </p:clrMapOvr>
  <p:transition>
    <p:fade/>
  </p:transition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B05972C-4EB5-02E5-D3B3-796AF5ABC9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785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05972C-4EB5-02E5-D3B3-796AF5ABC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C977D4CB-69EE-FF64-7256-8062F009AA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EA89DE58-4153-1F4B-F456-C2DE171122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05065137"/>
      </p:ext>
    </p:extLst>
  </p:cSld>
  <p:clrMapOvr>
    <a:masterClrMapping/>
  </p:clrMapOvr>
  <p:transition>
    <p:fade/>
  </p:transition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F85DDA7-785E-780B-BC9A-4216E2C1F3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8476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85DDA7-785E-780B-BC9A-4216E2C1F3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7A91D16B-BB64-A40E-E0AF-EBC7EE7F2F0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9900" y="1682496"/>
            <a:ext cx="11274552" cy="46802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>
                <a:latin typeface="Aptos" panose="020B0004020202020204" pitchFamily="34" charset="0"/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latin typeface="Aptos" panose="020B0004020202020204" pitchFamily="34" charset="0"/>
              </a:defRPr>
            </a:lvl2pPr>
            <a:lvl3pPr marL="365760">
              <a:spcBef>
                <a:spcPts val="0"/>
              </a:spcBef>
              <a:spcAft>
                <a:spcPts val="600"/>
              </a:spcAft>
              <a:defRPr>
                <a:latin typeface="Aptos" panose="020B0004020202020204" pitchFamily="34" charset="0"/>
              </a:defRPr>
            </a:lvl3pPr>
            <a:lvl4pPr marL="548640" indent="-182880">
              <a:spcBef>
                <a:spcPts val="0"/>
              </a:spcBef>
              <a:spcAft>
                <a:spcPts val="600"/>
              </a:spcAft>
              <a:defRPr>
                <a:latin typeface="Aptos" panose="020B0004020202020204" pitchFamily="34" charset="0"/>
              </a:defRPr>
            </a:lvl4pPr>
            <a:lvl5pPr marL="731520">
              <a:spcBef>
                <a:spcPts val="0"/>
              </a:spcBef>
              <a:spcAft>
                <a:spcPts val="600"/>
              </a:spcAft>
              <a:defRPr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9854A540-C795-DBA6-F03A-FF6645374C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801D727-4AFF-4DE1-BE36-44935F6AB5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16723400"/>
      </p:ext>
    </p:extLst>
  </p:cSld>
  <p:clrMapOvr>
    <a:masterClrMapping/>
  </p:clrMapOvr>
  <p:transition>
    <p:fade/>
  </p:transition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White with tagline logo lockup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2879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CE3197-4FD7-77BA-5D06-0DB9319632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4991CEB-2ABA-967D-DDD7-4B7737D037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pic>
        <p:nvPicPr>
          <p:cNvPr id="4" name="Picture 3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C9456E4-CACC-2698-8BDD-2A01E7A1F7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4" y="344025"/>
            <a:ext cx="2105480" cy="66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720371"/>
      </p:ext>
    </p:extLst>
  </p:cSld>
  <p:clrMapOvr>
    <a:masterClrMapping/>
  </p:clrMapOvr>
  <p:transition>
    <p:fade/>
  </p:transition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4AD4D43-3315-8098-AB60-0D1E2B669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356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AD4D43-3315-8098-AB60-0D1E2B669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676400"/>
            <a:ext cx="5486400" cy="46842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79388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6250845" y="1676400"/>
            <a:ext cx="5495544" cy="46842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/>
            </a:lvl1pPr>
            <a:lvl2pPr marL="180975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365760" indent="-179388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548640" indent="-182880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731520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ADD490B8-B418-78D3-2E0B-461A61F706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333EA7F-716E-CA3B-831D-4E6ADC7C21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60375441"/>
      </p:ext>
    </p:extLst>
  </p:cSld>
  <p:clrMapOvr>
    <a:masterClrMapping/>
  </p:clrMapOvr>
  <p:transition>
    <p:fade/>
  </p:transition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A63C211-FBF0-0771-BE99-47E7028BD2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5997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63C211-FBF0-0771-BE99-47E7028BD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7200" y="1680432"/>
            <a:ext cx="354990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79388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F857E55-4828-A256-F67F-37E4E75E229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22680" y="1680432"/>
            <a:ext cx="354990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79388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9495ED2B-E3BF-3456-BD7E-366BCEB6195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188160" y="1680432"/>
            <a:ext cx="354990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79388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260ED6C4-383F-927E-6F9F-43006E3747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442AF868-39C8-7431-6F01-1B071F0693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10035206"/>
      </p:ext>
    </p:extLst>
  </p:cSld>
  <p:clrMapOvr>
    <a:masterClrMapping/>
  </p:clrMapOvr>
  <p:transition>
    <p:fade/>
  </p:transition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18030CB-8A1E-7879-CA68-10EA5C7AEC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600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8030CB-8A1E-7879-CA68-10EA5C7AE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7200" y="1678002"/>
            <a:ext cx="2628000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C1C52B-7D74-06BE-C3B3-ED2F2596A87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39384" y="1678002"/>
            <a:ext cx="2628000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A683BB7-E6EB-C2E9-3FCA-D699A39C712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21568" y="1678002"/>
            <a:ext cx="2628000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D39A810-CF4D-8CC1-23AA-003EFA30A76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103752" y="1678002"/>
            <a:ext cx="2628000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DC6404C9-F7DB-8D2B-B023-31CFC2AF3E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1380D02D-D1CB-AB49-A6FE-4F3A43D72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18287662"/>
      </p:ext>
    </p:extLst>
  </p:cSld>
  <p:clrMapOvr>
    <a:masterClrMapping/>
  </p:clrMapOvr>
  <p:transition>
    <p:fade/>
  </p:transition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F484570F-AB85-4401-FAD0-3C8AAB53FC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93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84570F-AB85-4401-FAD0-3C8AAB53F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0D8F34B8-DFAD-6DD7-E1A1-4572B7969DD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57200" y="1880213"/>
            <a:ext cx="1476000" cy="1476000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90D3C277-40A7-31AF-87D8-848A84CDC70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49842" y="1880213"/>
            <a:ext cx="1476000" cy="1476000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Picture Placeholder 11">
            <a:extLst>
              <a:ext uri="{FF2B5EF4-FFF2-40B4-BE49-F238E27FC236}">
                <a16:creationId xmlns:a16="http://schemas.microsoft.com/office/drawing/2014/main" id="{6B0BFB5D-1E54-FF08-195B-949B6341E16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57200" y="4256213"/>
            <a:ext cx="1476000" cy="1476000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5" name="Picture Placeholder 11">
            <a:extLst>
              <a:ext uri="{FF2B5EF4-FFF2-40B4-BE49-F238E27FC236}">
                <a16:creationId xmlns:a16="http://schemas.microsoft.com/office/drawing/2014/main" id="{B70C4541-64E0-0D36-F531-9180AEBAADA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56583" y="4256213"/>
            <a:ext cx="1476000" cy="1476000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FC28274-B484-ADCB-6FAD-CD816034B79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04052" y="1880213"/>
            <a:ext cx="3846100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>
                <a:latin typeface="Aptos" panose="020B0004020202020204" pitchFamily="34" charset="0"/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>
                <a:latin typeface="Aptos" panose="020B0004020202020204" pitchFamily="34" charset="0"/>
              </a:defRPr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9D3FBE01-C9A4-F88D-C153-2816D6207A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89188" y="1880213"/>
            <a:ext cx="3846100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004DE48-1AC3-4F21-0968-B3890904434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104052" y="4256213"/>
            <a:ext cx="3849624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84A23D9-9F8C-5A70-1B87-0DD004B8D96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86933" y="4256213"/>
            <a:ext cx="3848355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1455C2-E21F-06D2-DADD-7FD7A0C6A036}"/>
              </a:ext>
            </a:extLst>
          </p:cNvPr>
          <p:cNvSpPr/>
          <p:nvPr/>
        </p:nvSpPr>
        <p:spPr>
          <a:xfrm>
            <a:off x="6245352" y="1677307"/>
            <a:ext cx="5495544" cy="609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B116F3-3D63-C235-3E40-D7EA6B934CF2}"/>
              </a:ext>
            </a:extLst>
          </p:cNvPr>
          <p:cNvSpPr/>
          <p:nvPr/>
        </p:nvSpPr>
        <p:spPr>
          <a:xfrm>
            <a:off x="457200" y="1677307"/>
            <a:ext cx="5495544" cy="609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46C436-A721-2D60-1AEA-13F0DD3A9223}"/>
              </a:ext>
            </a:extLst>
          </p:cNvPr>
          <p:cNvSpPr/>
          <p:nvPr/>
        </p:nvSpPr>
        <p:spPr>
          <a:xfrm>
            <a:off x="6245352" y="4044901"/>
            <a:ext cx="5495544" cy="609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62ED75E-FA16-E5BA-B5F1-A58E06F1A408}"/>
              </a:ext>
            </a:extLst>
          </p:cNvPr>
          <p:cNvSpPr/>
          <p:nvPr/>
        </p:nvSpPr>
        <p:spPr>
          <a:xfrm>
            <a:off x="457200" y="4044901"/>
            <a:ext cx="5495544" cy="609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68FE064-26F9-478A-C9E3-9A252BBFCA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A3DB540-FC3E-01EB-53A1-C587236A02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82456328"/>
      </p:ext>
    </p:extLst>
  </p:cSld>
  <p:clrMapOvr>
    <a:masterClrMapping/>
  </p:clrMapOvr>
  <p:transition>
    <p:fade/>
  </p:transition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38C8E8-5CC7-2DA0-0253-B90F98C6FD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4717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38C8E8-5CC7-2DA0-0253-B90F98C6F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DD670E7F-2D5F-E74D-FF59-5BD6C5BC34F1}"/>
              </a:ext>
            </a:extLst>
          </p:cNvPr>
          <p:cNvSpPr/>
          <p:nvPr/>
        </p:nvSpPr>
        <p:spPr>
          <a:xfrm>
            <a:off x="6245352" y="1677307"/>
            <a:ext cx="5495544" cy="609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CD4E13F-35DC-E442-82C0-9B5EE61D2906}"/>
              </a:ext>
            </a:extLst>
          </p:cNvPr>
          <p:cNvSpPr/>
          <p:nvPr/>
        </p:nvSpPr>
        <p:spPr>
          <a:xfrm>
            <a:off x="457200" y="1677307"/>
            <a:ext cx="5495544" cy="609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32DA993B-B409-E5C0-E8A1-3920C08FA40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476744" y="1883664"/>
            <a:ext cx="1476000" cy="1476000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9EA35630-FAAB-0992-9BD2-E2CF77317F5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58285" y="1883664"/>
            <a:ext cx="1476000" cy="1476000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4A6BC76D-8B27-508E-2FA1-4B668FF32EE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7200" y="3498336"/>
            <a:ext cx="5495544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9C91076D-2B86-9AF3-18AC-3BF3B094050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50493" y="3498336"/>
            <a:ext cx="5495544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189A445A-42B3-EBFA-8922-62959EFA0423}"/>
              </a:ext>
            </a:extLst>
          </p:cNvPr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457200" y="1876425"/>
            <a:ext cx="3922713" cy="148272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endParaRPr lang="en-US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9AF1B057-ABA1-7B5A-87C8-FD35492C6CB7}"/>
              </a:ext>
            </a:extLst>
          </p:cNvPr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6250493" y="1876425"/>
            <a:ext cx="3922713" cy="148272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F8D4548-5317-6BB5-38BE-CEB5DE902C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58D7307-BED6-E63C-82E6-C52AB21A5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41606962"/>
      </p:ext>
    </p:extLst>
  </p:cSld>
  <p:clrMapOvr>
    <a:masterClrMapping/>
  </p:clrMapOvr>
  <p:transition>
    <p:fade/>
  </p:transition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ight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CF214A6C-4B82-ACB4-E41B-0A213700DA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23123211"/>
      </p:ext>
    </p:extLst>
  </p:cSld>
  <p:clrMapOvr>
    <a:masterClrMapping/>
  </p:clrMapOvr>
  <p:transition>
    <p:fade/>
  </p:transition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- Light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B05972C-4EB5-02E5-D3B3-796AF5ABC9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785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05972C-4EB5-02E5-D3B3-796AF5ABC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B7DDF78D-1273-D4E3-38CE-31A019A926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3ABA50B7-6790-A107-B260-5B49B99E10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5812116"/>
      </p:ext>
    </p:extLst>
  </p:cSld>
  <p:clrMapOvr>
    <a:masterClrMapping/>
  </p:clrMapOvr>
  <p:transition>
    <p:fade/>
  </p:transition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- Light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F85DDA7-785E-780B-BC9A-4216E2C1F3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8476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85DDA7-785E-780B-BC9A-4216E2C1F3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7A91D16B-BB64-A40E-E0AF-EBC7EE7F2F0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82496"/>
            <a:ext cx="11274552" cy="46802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>
                <a:latin typeface="Aptos" panose="020B0004020202020204" pitchFamily="34" charset="0"/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latin typeface="Aptos" panose="020B0004020202020204" pitchFamily="34" charset="0"/>
              </a:defRPr>
            </a:lvl2pPr>
            <a:lvl3pPr marL="365760">
              <a:spcBef>
                <a:spcPts val="0"/>
              </a:spcBef>
              <a:spcAft>
                <a:spcPts val="600"/>
              </a:spcAft>
              <a:defRPr>
                <a:latin typeface="Aptos" panose="020B0004020202020204" pitchFamily="34" charset="0"/>
              </a:defRPr>
            </a:lvl3pPr>
            <a:lvl4pPr marL="548640" indent="-182880">
              <a:spcBef>
                <a:spcPts val="0"/>
              </a:spcBef>
              <a:spcAft>
                <a:spcPts val="600"/>
              </a:spcAft>
              <a:defRPr>
                <a:latin typeface="Aptos" panose="020B0004020202020204" pitchFamily="34" charset="0"/>
              </a:defRPr>
            </a:lvl4pPr>
            <a:lvl5pPr marL="731520">
              <a:spcBef>
                <a:spcPts val="0"/>
              </a:spcBef>
              <a:spcAft>
                <a:spcPts val="600"/>
              </a:spcAft>
              <a:defRPr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295B21EB-CB5A-CA2D-E874-D0D5F29EFD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AB9D5C6-925B-4CB3-4BAA-AABE35DE7D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8726892"/>
      </p:ext>
    </p:extLst>
  </p:cSld>
  <p:clrMapOvr>
    <a:masterClrMapping/>
  </p:clrMapOvr>
  <p:transition>
    <p:fade/>
  </p:transition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2 columns - Light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4AD4D43-3315-8098-AB60-0D1E2B669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356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AD4D43-3315-8098-AB60-0D1E2B669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678966"/>
            <a:ext cx="5486400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79388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6250845" y="1678966"/>
            <a:ext cx="549554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/>
            </a:lvl1pPr>
            <a:lvl2pPr marL="180975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365760" indent="-179388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548640" indent="-182880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731520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A860E386-5385-772F-49B8-5DCB65A672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D4151C1F-8C68-FC3D-8A51-0F7D13FDC4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93105902"/>
      </p:ext>
    </p:extLst>
  </p:cSld>
  <p:clrMapOvr>
    <a:masterClrMapping/>
  </p:clrMapOvr>
  <p:transition>
    <p:fade/>
  </p:transition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3 columns - Light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A63C211-FBF0-0771-BE99-47E7028BD2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5997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63C211-FBF0-0771-BE99-47E7028BD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7200" y="1680432"/>
            <a:ext cx="354990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79388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F857E55-4828-A256-F67F-37E4E75E229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22680" y="1680432"/>
            <a:ext cx="354990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79388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9495ED2B-E3BF-3456-BD7E-366BCEB6195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188160" y="1680432"/>
            <a:ext cx="354990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79388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9073E170-6899-6F0F-5DA9-45DF92522A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96BDA6B9-5FA1-7FA5-9752-4DD60EBD49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04813874"/>
      </p:ext>
    </p:extLst>
  </p:cSld>
  <p:clrMapOvr>
    <a:masterClrMapping/>
  </p:clrMapOvr>
  <p:transition>
    <p:fade/>
  </p:transition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- White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80EAFA08-BCCF-EBA2-7B40-F003BC49ACB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5925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pic>
        <p:nvPicPr>
          <p:cNvPr id="4" name="Picture 3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B3ACEF47-C250-A0D3-A352-8DE75365B1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275" y="342900"/>
            <a:ext cx="1889758" cy="35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212610"/>
      </p:ext>
    </p:extLst>
  </p:cSld>
  <p:clrMapOvr>
    <a:masterClrMapping/>
  </p:clrMapOvr>
  <p:transition>
    <p:fade/>
  </p:transition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4 columns - Light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18030CB-8A1E-7879-CA68-10EA5C7AEC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600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8030CB-8A1E-7879-CA68-10EA5C7AE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ADD02F18-8E38-5335-5E28-3E452CB51C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406ECBE-D4A5-5349-3D56-D2437E84F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AEB45B01-62D3-CCE8-CE57-6AC144D376E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7200" y="1678002"/>
            <a:ext cx="2628000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02E8D055-B986-97C5-7BFC-EF17E904BDE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39384" y="1678002"/>
            <a:ext cx="2628000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573200AE-B8E8-2EB5-7BA9-66AE5DE2815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21568" y="1678002"/>
            <a:ext cx="2628000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1EC93A5-6381-C9A8-3898-A424AE97473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103752" y="1678002"/>
            <a:ext cx="2628000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9473111"/>
      </p:ext>
    </p:extLst>
  </p:cSld>
  <p:clrMapOvr>
    <a:masterClrMapping/>
  </p:clrMapOvr>
  <p:transition>
    <p:fade/>
  </p:transition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- Light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F484570F-AB85-4401-FAD0-3C8AAB53FC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93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84570F-AB85-4401-FAD0-3C8AAB53F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0D8F34B8-DFAD-6DD7-E1A1-4572B7969DD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57200" y="1880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90D3C277-40A7-31AF-87D8-848A84CDC70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49842" y="1880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Picture Placeholder 11">
            <a:extLst>
              <a:ext uri="{FF2B5EF4-FFF2-40B4-BE49-F238E27FC236}">
                <a16:creationId xmlns:a16="http://schemas.microsoft.com/office/drawing/2014/main" id="{6B0BFB5D-1E54-FF08-195B-949B6341E16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57200" y="4256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5" name="Picture Placeholder 11">
            <a:extLst>
              <a:ext uri="{FF2B5EF4-FFF2-40B4-BE49-F238E27FC236}">
                <a16:creationId xmlns:a16="http://schemas.microsoft.com/office/drawing/2014/main" id="{B70C4541-64E0-0D36-F531-9180AEBAADA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56583" y="4256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FC28274-B484-ADCB-6FAD-CD816034B79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04052" y="1880213"/>
            <a:ext cx="3846100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>
                <a:latin typeface="Aptos" panose="020B0004020202020204" pitchFamily="34" charset="0"/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>
                <a:latin typeface="Aptos" panose="020B0004020202020204" pitchFamily="34" charset="0"/>
              </a:defRPr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9D3FBE01-C9A4-F88D-C153-2816D6207A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89188" y="1880213"/>
            <a:ext cx="3846100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004DE48-1AC3-4F21-0968-B3890904434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104052" y="4256213"/>
            <a:ext cx="3849624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84A23D9-9F8C-5A70-1B87-0DD004B8D96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86933" y="4256213"/>
            <a:ext cx="3848355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1455C2-E21F-06D2-DADD-7FD7A0C6A036}"/>
              </a:ext>
            </a:extLst>
          </p:cNvPr>
          <p:cNvSpPr/>
          <p:nvPr/>
        </p:nvSpPr>
        <p:spPr>
          <a:xfrm>
            <a:off x="6245352" y="1677307"/>
            <a:ext cx="5495544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B116F3-3D63-C235-3E40-D7EA6B934CF2}"/>
              </a:ext>
            </a:extLst>
          </p:cNvPr>
          <p:cNvSpPr/>
          <p:nvPr/>
        </p:nvSpPr>
        <p:spPr>
          <a:xfrm>
            <a:off x="457200" y="1677307"/>
            <a:ext cx="5495544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46C436-A721-2D60-1AEA-13F0DD3A9223}"/>
              </a:ext>
            </a:extLst>
          </p:cNvPr>
          <p:cNvSpPr/>
          <p:nvPr/>
        </p:nvSpPr>
        <p:spPr>
          <a:xfrm>
            <a:off x="6245352" y="4044901"/>
            <a:ext cx="5495544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62ED75E-FA16-E5BA-B5F1-A58E06F1A408}"/>
              </a:ext>
            </a:extLst>
          </p:cNvPr>
          <p:cNvSpPr/>
          <p:nvPr/>
        </p:nvSpPr>
        <p:spPr>
          <a:xfrm>
            <a:off x="457200" y="4044901"/>
            <a:ext cx="5495544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82431E1-2402-B092-ADC7-B7AFFF743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02E62708-6F60-F541-0B38-025BE964B9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65945480"/>
      </p:ext>
    </p:extLst>
  </p:cSld>
  <p:clrMapOvr>
    <a:masterClrMapping/>
  </p:clrMapOvr>
  <p:transition>
    <p:fade/>
  </p:transition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 - Light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38C8E8-5CC7-2DA0-0253-B90F98C6FD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4717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38C8E8-5CC7-2DA0-0253-B90F98C6F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DD670E7F-2D5F-E74D-FF59-5BD6C5BC34F1}"/>
              </a:ext>
            </a:extLst>
          </p:cNvPr>
          <p:cNvSpPr/>
          <p:nvPr/>
        </p:nvSpPr>
        <p:spPr>
          <a:xfrm>
            <a:off x="6245352" y="1677307"/>
            <a:ext cx="5495544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CD4E13F-35DC-E442-82C0-9B5EE61D2906}"/>
              </a:ext>
            </a:extLst>
          </p:cNvPr>
          <p:cNvSpPr/>
          <p:nvPr/>
        </p:nvSpPr>
        <p:spPr>
          <a:xfrm>
            <a:off x="457200" y="1677307"/>
            <a:ext cx="5495544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32DA993B-B409-E5C0-E8A1-3920C08FA40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476744" y="1883664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9EA35630-FAAB-0992-9BD2-E2CF77317F5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58285" y="1883664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4A6BC76D-8B27-508E-2FA1-4B668FF32EE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7200" y="3498336"/>
            <a:ext cx="5495544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9C91076D-2B86-9AF3-18AC-3BF3B094050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50493" y="3498336"/>
            <a:ext cx="5495544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189A445A-42B3-EBFA-8922-62959EFA0423}"/>
              </a:ext>
            </a:extLst>
          </p:cNvPr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457200" y="1876425"/>
            <a:ext cx="3922713" cy="148272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endParaRPr lang="en-US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9AF1B057-ABA1-7B5A-87C8-FD35492C6CB7}"/>
              </a:ext>
            </a:extLst>
          </p:cNvPr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6250493" y="1876425"/>
            <a:ext cx="3922713" cy="148272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endParaRPr lang="en-US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FF8EBB70-9B72-9867-F406-405D80167C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42305A83-BE0D-D748-853F-61F2870F98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18012747"/>
      </p:ext>
    </p:extLst>
  </p:cSld>
  <p:clrMapOvr>
    <a:masterClrMapping/>
  </p:clrMapOvr>
  <p:transition>
    <p:fade/>
  </p:transition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98731DA8-1F0A-20BF-46FD-B33A1719A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14626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26C22B3-C48F-A7AA-5E77-DE54AB5082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B80097E-2400-15CA-479D-6371545A4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03081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26C22B3-C48F-A7AA-5E77-DE54AB5082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B80097E-2400-15CA-479D-6371545A4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7A7A0B17-A10A-A691-2DF7-5541BF893F4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82496"/>
            <a:ext cx="11274552" cy="46802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>
                <a:latin typeface="Aptos" panose="020B0004020202020204" pitchFamily="34" charset="0"/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latin typeface="Aptos" panose="020B0004020202020204" pitchFamily="34" charset="0"/>
              </a:defRPr>
            </a:lvl2pPr>
            <a:lvl3pPr marL="365760">
              <a:spcBef>
                <a:spcPts val="0"/>
              </a:spcBef>
              <a:spcAft>
                <a:spcPts val="600"/>
              </a:spcAft>
              <a:defRPr>
                <a:latin typeface="Aptos" panose="020B0004020202020204" pitchFamily="34" charset="0"/>
              </a:defRPr>
            </a:lvl3pPr>
            <a:lvl4pPr marL="548640" indent="-182880">
              <a:spcBef>
                <a:spcPts val="0"/>
              </a:spcBef>
              <a:spcAft>
                <a:spcPts val="600"/>
              </a:spcAft>
              <a:defRPr>
                <a:latin typeface="Aptos" panose="020B0004020202020204" pitchFamily="34" charset="0"/>
              </a:defRPr>
            </a:lvl4pPr>
            <a:lvl5pPr marL="731520">
              <a:spcBef>
                <a:spcPts val="0"/>
              </a:spcBef>
              <a:spcAft>
                <a:spcPts val="600"/>
              </a:spcAft>
              <a:defRPr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70427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,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26C22B3-C48F-A7AA-5E77-DE54AB5082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B80097E-2400-15CA-479D-6371545A4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A0981181-8FFA-3D26-9879-4FD71CEAAFD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7200" y="1678966"/>
            <a:ext cx="5486400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79388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392D7608-86D0-EB9D-C697-0AC9F0BB30D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50845" y="1678966"/>
            <a:ext cx="549554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/>
            </a:lvl1pPr>
            <a:lvl2pPr marL="180975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365760" indent="-179388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548640" indent="-182880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731520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77160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,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26C22B3-C48F-A7AA-5E77-DE54AB5082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B80097E-2400-15CA-479D-6371545A4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C3146C1-24D8-87F2-30D1-F10D82E8CB4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7200" y="1680432"/>
            <a:ext cx="354990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79388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1CD4EAFB-5D28-71BA-7485-16775B094A1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22680" y="1680432"/>
            <a:ext cx="354990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79388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570962F-920C-1E25-3941-C524146E937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188160" y="1680432"/>
            <a:ext cx="3549904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79388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0975" algn="l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27000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,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26C22B3-C48F-A7AA-5E77-DE54AB5082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B80097E-2400-15CA-479D-6371545A4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82901E1-F03F-E680-6A55-DBC09BCE6B1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7200" y="1678002"/>
            <a:ext cx="2628000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A262EB53-85E9-7168-5CE5-5DC6E637F8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39384" y="1678002"/>
            <a:ext cx="2628000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130A060-B507-68B8-2E5D-363F38A1912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21568" y="1678002"/>
            <a:ext cx="2628000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2E4C4949-15BA-C52A-C199-3303CD74E90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103752" y="1678002"/>
            <a:ext cx="2628000" cy="46817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576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4864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31520" indent="-18288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42399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,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26C22B3-C48F-A7AA-5E77-DE54AB5082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B80097E-2400-15CA-479D-6371545A4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C3250730-920E-84F2-7965-2128B3782AE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57200" y="1880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0F905C23-1DFD-347D-F43F-EFA0C26BB32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49842" y="1880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8D6D10C-C87C-A075-30FF-6303173B6DE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57200" y="4256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7" name="Picture Placeholder 11">
            <a:extLst>
              <a:ext uri="{FF2B5EF4-FFF2-40B4-BE49-F238E27FC236}">
                <a16:creationId xmlns:a16="http://schemas.microsoft.com/office/drawing/2014/main" id="{006D819E-AAC2-8F35-B8AE-29C62B9BCA0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56583" y="4256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73DFCC4-61DC-1F4D-9AAF-58479918ACCC}"/>
              </a:ext>
            </a:extLst>
          </p:cNvPr>
          <p:cNvSpPr/>
          <p:nvPr/>
        </p:nvSpPr>
        <p:spPr>
          <a:xfrm>
            <a:off x="6245352" y="1677307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B978975-4CC4-BC16-0404-7AF27FBBD2A2}"/>
              </a:ext>
            </a:extLst>
          </p:cNvPr>
          <p:cNvSpPr/>
          <p:nvPr/>
        </p:nvSpPr>
        <p:spPr>
          <a:xfrm>
            <a:off x="457200" y="1677307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F468317-9E1E-D217-DDCA-9B76DADF428B}"/>
              </a:ext>
            </a:extLst>
          </p:cNvPr>
          <p:cNvSpPr/>
          <p:nvPr/>
        </p:nvSpPr>
        <p:spPr>
          <a:xfrm>
            <a:off x="6245352" y="4044901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BE2101-C0E5-08BA-F6FD-F1CE1D1C0B51}"/>
              </a:ext>
            </a:extLst>
          </p:cNvPr>
          <p:cNvSpPr/>
          <p:nvPr/>
        </p:nvSpPr>
        <p:spPr>
          <a:xfrm>
            <a:off x="457200" y="4044901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227161A-89C0-A0D4-3121-B89A9266EB4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04052" y="1880213"/>
            <a:ext cx="3846100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>
                <a:latin typeface="Aptos" panose="020B0004020202020204" pitchFamily="34" charset="0"/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>
                <a:latin typeface="Aptos" panose="020B0004020202020204" pitchFamily="34" charset="0"/>
              </a:defRPr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CBFF3D59-A591-1299-88E8-4DA394F7419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89188" y="1880213"/>
            <a:ext cx="3846100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DAE79A90-ACE5-0947-BFA8-02B212877C6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104052" y="4256213"/>
            <a:ext cx="3849624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2EAE0F8-2E46-D076-D466-A935E799499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86933" y="4256213"/>
            <a:ext cx="3848355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b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51373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- White with tagline logo lockup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CE3197-4FD7-77BA-5D06-0DB9319632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4991CEB-2ABA-967D-DDD7-4B7737D037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pic>
        <p:nvPicPr>
          <p:cNvPr id="4" name="Picture 3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0A84F9A9-E8DB-C7F6-26F7-CAFE4A1672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4" y="344025"/>
            <a:ext cx="2105480" cy="665645"/>
          </a:xfrm>
          <a:prstGeom prst="rect">
            <a:avLst/>
          </a:prstGeom>
        </p:spPr>
      </p:pic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E2D57144-4E87-5335-A81A-1A03ED8B917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5925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37294271"/>
      </p:ext>
    </p:extLst>
  </p:cSld>
  <p:clrMapOvr>
    <a:masterClrMapping/>
  </p:clrMapOvr>
  <p:transition>
    <p:fade/>
  </p:transition>
  <p:hf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,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26C22B3-C48F-A7AA-5E77-DE54AB5082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84000"/>
            <a:ext cx="11274552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B80097E-2400-15CA-479D-6371545A4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5992"/>
            <a:ext cx="11274552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6C1E2B6-BD29-E7B6-DC4F-03AF60FD8C29}"/>
              </a:ext>
            </a:extLst>
          </p:cNvPr>
          <p:cNvSpPr/>
          <p:nvPr/>
        </p:nvSpPr>
        <p:spPr>
          <a:xfrm>
            <a:off x="6245352" y="1677307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28C1722-2F01-6093-F121-3BB420945085}"/>
              </a:ext>
            </a:extLst>
          </p:cNvPr>
          <p:cNvSpPr/>
          <p:nvPr/>
        </p:nvSpPr>
        <p:spPr>
          <a:xfrm>
            <a:off x="457200" y="1677307"/>
            <a:ext cx="5495544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F2814B8-0615-E2A4-CF7B-F7B7E0A1331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476744" y="1883664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7" name="Picture Placeholder 11">
            <a:extLst>
              <a:ext uri="{FF2B5EF4-FFF2-40B4-BE49-F238E27FC236}">
                <a16:creationId xmlns:a16="http://schemas.microsoft.com/office/drawing/2014/main" id="{818C1815-E7D6-78FB-DDF3-76140EBA788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58285" y="1883664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9AF547A8-5F95-3143-D0AA-635922AADA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7200" y="3498336"/>
            <a:ext cx="5495544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9DF6293-C4A6-7472-B316-96D731B4596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50493" y="3498336"/>
            <a:ext cx="5495544" cy="19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200" b="0"/>
            </a:lvl2pPr>
            <a:lvl3pPr marL="36576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marL="548640" indent="-18288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marL="73152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5DD2AA82-2E08-664B-36E3-8D9767571AAE}"/>
              </a:ext>
            </a:extLst>
          </p:cNvPr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457200" y="1876425"/>
            <a:ext cx="3922713" cy="148272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endParaRPr lang="en-US"/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23CFDEBD-92CD-32A4-862C-AE28FD14484B}"/>
              </a:ext>
            </a:extLst>
          </p:cNvPr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6250493" y="1876425"/>
            <a:ext cx="3922713" cy="148272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889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8EA53158-D8A7-47B7-B439-DAD37D9B646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4852" y="5391335"/>
            <a:ext cx="1198880" cy="1198880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2470637-BE6A-F97D-024B-F779BEB81EF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412074" y="4332541"/>
            <a:ext cx="2319503" cy="1721031"/>
          </a:xfrm>
        </p:spPr>
        <p:txBody>
          <a:bodyPr anchor="ctr" anchorCtr="0">
            <a:normAutofit/>
          </a:bodyPr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C0F9468-03D7-CF06-027E-31D0F536D7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12076" y="6138616"/>
            <a:ext cx="2319501" cy="362339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90552F-0EE3-FFEC-6EFE-2E6C152930C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/>
          <a:srcRect/>
          <a:stretch>
            <a:fillRect/>
          </a:stretch>
        </p:blipFill>
        <p:spPr>
          <a:xfrm>
            <a:off x="442913" y="342900"/>
            <a:ext cx="1886819" cy="352781"/>
          </a:xfrm>
          <a:prstGeom prst="rect">
            <a:avLst/>
          </a:prstGeom>
        </p:spPr>
      </p:pic>
      <p:sp>
        <p:nvSpPr>
          <p:cNvPr id="3" name="text" title="UserProfile.LegalEntity.Disclaimer_es-ES_External">
            <a:extLst>
              <a:ext uri="{FF2B5EF4-FFF2-40B4-BE49-F238E27FC236}">
                <a16:creationId xmlns:a16="http://schemas.microsoft.com/office/drawing/2014/main" id="{EF69B342-D5AF-620E-5C07-3A59384BA5F9}"/>
              </a:ext>
            </a:extLst>
          </p:cNvPr>
          <p:cNvSpPr txBox="1"/>
          <p:nvPr/>
        </p:nvSpPr>
        <p:spPr>
          <a:xfrm>
            <a:off x="474356" y="6377844"/>
            <a:ext cx="838835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indent="0">
              <a:spcBef>
                <a:spcPts val="0"/>
              </a:spcBef>
              <a:buSzPct val="100000"/>
              <a:buFont typeface="Arial"/>
              <a:buNone/>
            </a:pPr>
            <a:r>
              <a:rPr lang="es-ES" sz="800" dirty="0">
                <a:solidFill>
                  <a:schemeClr val="tx1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Texto Legal que aplique</a:t>
            </a:r>
          </a:p>
        </p:txBody>
      </p:sp>
    </p:spTree>
    <p:extLst>
      <p:ext uri="{BB962C8B-B14F-4D97-AF65-F5344CB8AC3E}">
        <p14:creationId xmlns:p14="http://schemas.microsoft.com/office/powerpoint/2010/main" val="7751190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 slide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332541"/>
            <a:ext cx="2319503" cy="1721031"/>
          </a:xfrm>
        </p:spPr>
        <p:txBody>
          <a:bodyPr anchor="ctr" anchorCtr="0">
            <a:normAutofit/>
          </a:bodyPr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9412076" y="6138616"/>
            <a:ext cx="2319501" cy="362339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" name="text" title="UserProfile.LegalEntity.Disclaimer_es-ES_External">
            <a:extLst>
              <a:ext uri="{FF2B5EF4-FFF2-40B4-BE49-F238E27FC236}">
                <a16:creationId xmlns:a16="http://schemas.microsoft.com/office/drawing/2014/main" id="{774AD92F-264F-45C8-C8CB-E534BBA28655}"/>
              </a:ext>
            </a:extLst>
          </p:cNvPr>
          <p:cNvSpPr txBox="1"/>
          <p:nvPr/>
        </p:nvSpPr>
        <p:spPr>
          <a:xfrm>
            <a:off x="474356" y="6377844"/>
            <a:ext cx="838835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indent="0">
              <a:spcBef>
                <a:spcPts val="0"/>
              </a:spcBef>
              <a:buSzPct val="100000"/>
              <a:buFont typeface="Arial"/>
              <a:buNone/>
            </a:pPr>
            <a:r>
              <a:rPr lang="es-ES" sz="800" dirty="0">
                <a:solidFill>
                  <a:schemeClr val="bg1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Texto Legal que apliqu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0C7611-F5C6-0806-3C86-A2B4EE0B2EC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694852" y="5391335"/>
            <a:ext cx="1198880" cy="1198880"/>
          </a:xfrm>
          <a:prstGeom prst="rect">
            <a:avLst/>
          </a:prstGeom>
        </p:spPr>
      </p:pic>
      <p:pic>
        <p:nvPicPr>
          <p:cNvPr id="4" name="Picture 3" descr="A white text on a black background&#10;&#10;AI-generated content may be incorrect.">
            <a:extLst>
              <a:ext uri="{FF2B5EF4-FFF2-40B4-BE49-F238E27FC236}">
                <a16:creationId xmlns:a16="http://schemas.microsoft.com/office/drawing/2014/main" id="{C1E7F2CF-6D33-65CA-A030-46DD546768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275" y="342900"/>
            <a:ext cx="1889758" cy="35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923505"/>
      </p:ext>
    </p:extLst>
  </p:cSld>
  <p:clrMapOvr>
    <a:masterClrMapping/>
  </p:clrMapOvr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F059D-D921-7D4D-B796-E2E14F8F7788}" type="slidenum">
              <a:rPr lang="es-ES" smtClean="0"/>
              <a:t>‹Nº›</a:t>
            </a:fld>
            <a:endParaRPr lang="es-ES" dirty="0"/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A73AF722-9722-9293-C31A-962B41D02E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76220" y="282006"/>
            <a:ext cx="1372848" cy="326767"/>
          </a:xfrm>
          <a:prstGeom prst="rect">
            <a:avLst/>
          </a:prstGeom>
        </p:spPr>
      </p:pic>
      <p:grpSp>
        <p:nvGrpSpPr>
          <p:cNvPr id="62" name="Group 4">
            <a:extLst>
              <a:ext uri="{FF2B5EF4-FFF2-40B4-BE49-F238E27FC236}">
                <a16:creationId xmlns:a16="http://schemas.microsoft.com/office/drawing/2014/main" id="{ABB4B664-A738-9A05-DB27-094A316EE91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048424" y="304102"/>
            <a:ext cx="1314450" cy="273050"/>
            <a:chOff x="1915" y="345"/>
            <a:chExt cx="828" cy="172"/>
          </a:xfrm>
        </p:grpSpPr>
        <p:sp>
          <p:nvSpPr>
            <p:cNvPr id="63" name="Freeform 5">
              <a:extLst>
                <a:ext uri="{FF2B5EF4-FFF2-40B4-BE49-F238E27FC236}">
                  <a16:creationId xmlns:a16="http://schemas.microsoft.com/office/drawing/2014/main" id="{B8AA31E0-5DCD-2ED5-F689-21038966D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345"/>
              <a:ext cx="96" cy="170"/>
            </a:xfrm>
            <a:custGeom>
              <a:avLst/>
              <a:gdLst>
                <a:gd name="T0" fmla="*/ 96 w 96"/>
                <a:gd name="T1" fmla="*/ 0 h 170"/>
                <a:gd name="T2" fmla="*/ 96 w 96"/>
                <a:gd name="T3" fmla="*/ 34 h 170"/>
                <a:gd name="T4" fmla="*/ 66 w 96"/>
                <a:gd name="T5" fmla="*/ 34 h 170"/>
                <a:gd name="T6" fmla="*/ 66 w 96"/>
                <a:gd name="T7" fmla="*/ 170 h 170"/>
                <a:gd name="T8" fmla="*/ 30 w 96"/>
                <a:gd name="T9" fmla="*/ 170 h 170"/>
                <a:gd name="T10" fmla="*/ 30 w 96"/>
                <a:gd name="T11" fmla="*/ 34 h 170"/>
                <a:gd name="T12" fmla="*/ 0 w 96"/>
                <a:gd name="T13" fmla="*/ 34 h 170"/>
                <a:gd name="T14" fmla="*/ 0 w 96"/>
                <a:gd name="T15" fmla="*/ 0 h 170"/>
                <a:gd name="T16" fmla="*/ 96 w 96"/>
                <a:gd name="T1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70">
                  <a:moveTo>
                    <a:pt x="96" y="0"/>
                  </a:moveTo>
                  <a:lnTo>
                    <a:pt x="96" y="34"/>
                  </a:lnTo>
                  <a:lnTo>
                    <a:pt x="66" y="34"/>
                  </a:lnTo>
                  <a:lnTo>
                    <a:pt x="66" y="170"/>
                  </a:lnTo>
                  <a:lnTo>
                    <a:pt x="30" y="170"/>
                  </a:lnTo>
                  <a:lnTo>
                    <a:pt x="30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D21A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4" name="Freeform 6">
              <a:extLst>
                <a:ext uri="{FF2B5EF4-FFF2-40B4-BE49-F238E27FC236}">
                  <a16:creationId xmlns:a16="http://schemas.microsoft.com/office/drawing/2014/main" id="{7B6C4EA4-4BC0-548C-87EB-AAAA7D6D9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" y="461"/>
              <a:ext cx="76" cy="54"/>
            </a:xfrm>
            <a:custGeom>
              <a:avLst/>
              <a:gdLst>
                <a:gd name="T0" fmla="*/ 313 w 617"/>
                <a:gd name="T1" fmla="*/ 0 h 423"/>
                <a:gd name="T2" fmla="*/ 273 w 617"/>
                <a:gd name="T3" fmla="*/ 12 h 423"/>
                <a:gd name="T4" fmla="*/ 73 w 617"/>
                <a:gd name="T5" fmla="*/ 51 h 423"/>
                <a:gd name="T6" fmla="*/ 0 w 617"/>
                <a:gd name="T7" fmla="*/ 53 h 423"/>
                <a:gd name="T8" fmla="*/ 264 w 617"/>
                <a:gd name="T9" fmla="*/ 423 h 423"/>
                <a:gd name="T10" fmla="*/ 617 w 617"/>
                <a:gd name="T11" fmla="*/ 423 h 423"/>
                <a:gd name="T12" fmla="*/ 313 w 617"/>
                <a:gd name="T13" fmla="*/ 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7" h="423">
                  <a:moveTo>
                    <a:pt x="313" y="0"/>
                  </a:moveTo>
                  <a:lnTo>
                    <a:pt x="273" y="12"/>
                  </a:lnTo>
                  <a:cubicBezTo>
                    <a:pt x="208" y="33"/>
                    <a:pt x="141" y="46"/>
                    <a:pt x="73" y="51"/>
                  </a:cubicBezTo>
                  <a:lnTo>
                    <a:pt x="0" y="53"/>
                  </a:lnTo>
                  <a:lnTo>
                    <a:pt x="264" y="423"/>
                  </a:lnTo>
                  <a:lnTo>
                    <a:pt x="617" y="423"/>
                  </a:lnTo>
                  <a:lnTo>
                    <a:pt x="313" y="0"/>
                  </a:lnTo>
                  <a:close/>
                </a:path>
              </a:pathLst>
            </a:custGeom>
            <a:solidFill>
              <a:srgbClr val="D21A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5" name="Freeform 7">
              <a:extLst>
                <a:ext uri="{FF2B5EF4-FFF2-40B4-BE49-F238E27FC236}">
                  <a16:creationId xmlns:a16="http://schemas.microsoft.com/office/drawing/2014/main" id="{D472CF8A-FBCE-B360-1F18-AFC723D59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4" y="482"/>
              <a:ext cx="28" cy="26"/>
            </a:xfrm>
            <a:custGeom>
              <a:avLst/>
              <a:gdLst>
                <a:gd name="T0" fmla="*/ 28 w 28"/>
                <a:gd name="T1" fmla="*/ 10 h 26"/>
                <a:gd name="T2" fmla="*/ 18 w 28"/>
                <a:gd name="T3" fmla="*/ 10 h 26"/>
                <a:gd name="T4" fmla="*/ 16 w 28"/>
                <a:gd name="T5" fmla="*/ 0 h 26"/>
                <a:gd name="T6" fmla="*/ 11 w 28"/>
                <a:gd name="T7" fmla="*/ 9 h 26"/>
                <a:gd name="T8" fmla="*/ 0 w 28"/>
                <a:gd name="T9" fmla="*/ 8 h 26"/>
                <a:gd name="T10" fmla="*/ 7 w 28"/>
                <a:gd name="T11" fmla="*/ 15 h 26"/>
                <a:gd name="T12" fmla="*/ 2 w 28"/>
                <a:gd name="T13" fmla="*/ 25 h 26"/>
                <a:gd name="T14" fmla="*/ 12 w 28"/>
                <a:gd name="T15" fmla="*/ 20 h 26"/>
                <a:gd name="T16" fmla="*/ 22 w 28"/>
                <a:gd name="T17" fmla="*/ 26 h 26"/>
                <a:gd name="T18" fmla="*/ 19 w 28"/>
                <a:gd name="T19" fmla="*/ 16 h 26"/>
                <a:gd name="T20" fmla="*/ 28 w 28"/>
                <a:gd name="T21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0"/>
                  </a:moveTo>
                  <a:lnTo>
                    <a:pt x="18" y="10"/>
                  </a:lnTo>
                  <a:lnTo>
                    <a:pt x="16" y="0"/>
                  </a:lnTo>
                  <a:lnTo>
                    <a:pt x="11" y="9"/>
                  </a:lnTo>
                  <a:lnTo>
                    <a:pt x="0" y="8"/>
                  </a:lnTo>
                  <a:lnTo>
                    <a:pt x="7" y="15"/>
                  </a:lnTo>
                  <a:lnTo>
                    <a:pt x="2" y="25"/>
                  </a:lnTo>
                  <a:lnTo>
                    <a:pt x="12" y="20"/>
                  </a:lnTo>
                  <a:lnTo>
                    <a:pt x="22" y="26"/>
                  </a:lnTo>
                  <a:lnTo>
                    <a:pt x="19" y="16"/>
                  </a:lnTo>
                  <a:lnTo>
                    <a:pt x="28" y="10"/>
                  </a:ln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6" name="Freeform 8">
              <a:extLst>
                <a:ext uri="{FF2B5EF4-FFF2-40B4-BE49-F238E27FC236}">
                  <a16:creationId xmlns:a16="http://schemas.microsoft.com/office/drawing/2014/main" id="{92CD3F89-D06A-A949-AA60-6CD216F679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6" y="449"/>
              <a:ext cx="27" cy="24"/>
            </a:xfrm>
            <a:custGeom>
              <a:avLst/>
              <a:gdLst>
                <a:gd name="T0" fmla="*/ 27 w 27"/>
                <a:gd name="T1" fmla="*/ 9 h 24"/>
                <a:gd name="T2" fmla="*/ 17 w 27"/>
                <a:gd name="T3" fmla="*/ 9 h 24"/>
                <a:gd name="T4" fmla="*/ 15 w 27"/>
                <a:gd name="T5" fmla="*/ 0 h 24"/>
                <a:gd name="T6" fmla="*/ 10 w 27"/>
                <a:gd name="T7" fmla="*/ 8 h 24"/>
                <a:gd name="T8" fmla="*/ 0 w 27"/>
                <a:gd name="T9" fmla="*/ 8 h 24"/>
                <a:gd name="T10" fmla="*/ 7 w 27"/>
                <a:gd name="T11" fmla="*/ 14 h 24"/>
                <a:gd name="T12" fmla="*/ 1 w 27"/>
                <a:gd name="T13" fmla="*/ 23 h 24"/>
                <a:gd name="T14" fmla="*/ 11 w 27"/>
                <a:gd name="T15" fmla="*/ 18 h 24"/>
                <a:gd name="T16" fmla="*/ 19 w 27"/>
                <a:gd name="T17" fmla="*/ 24 h 24"/>
                <a:gd name="T18" fmla="*/ 18 w 27"/>
                <a:gd name="T19" fmla="*/ 15 h 24"/>
                <a:gd name="T20" fmla="*/ 27 w 27"/>
                <a:gd name="T2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24">
                  <a:moveTo>
                    <a:pt x="27" y="9"/>
                  </a:moveTo>
                  <a:lnTo>
                    <a:pt x="17" y="9"/>
                  </a:lnTo>
                  <a:lnTo>
                    <a:pt x="15" y="0"/>
                  </a:lnTo>
                  <a:lnTo>
                    <a:pt x="10" y="8"/>
                  </a:lnTo>
                  <a:lnTo>
                    <a:pt x="0" y="8"/>
                  </a:lnTo>
                  <a:lnTo>
                    <a:pt x="7" y="14"/>
                  </a:lnTo>
                  <a:lnTo>
                    <a:pt x="1" y="23"/>
                  </a:lnTo>
                  <a:lnTo>
                    <a:pt x="11" y="18"/>
                  </a:lnTo>
                  <a:lnTo>
                    <a:pt x="19" y="24"/>
                  </a:lnTo>
                  <a:lnTo>
                    <a:pt x="18" y="15"/>
                  </a:lnTo>
                  <a:lnTo>
                    <a:pt x="27" y="9"/>
                  </a:ln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7" name="Freeform 9">
              <a:extLst>
                <a:ext uri="{FF2B5EF4-FFF2-40B4-BE49-F238E27FC236}">
                  <a16:creationId xmlns:a16="http://schemas.microsoft.com/office/drawing/2014/main" id="{D33999F9-AD65-108B-906C-CE8BDCA78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5" y="414"/>
              <a:ext cx="24" cy="20"/>
            </a:xfrm>
            <a:custGeom>
              <a:avLst/>
              <a:gdLst>
                <a:gd name="T0" fmla="*/ 24 w 24"/>
                <a:gd name="T1" fmla="*/ 8 h 20"/>
                <a:gd name="T2" fmla="*/ 15 w 24"/>
                <a:gd name="T3" fmla="*/ 7 h 20"/>
                <a:gd name="T4" fmla="*/ 14 w 24"/>
                <a:gd name="T5" fmla="*/ 0 h 20"/>
                <a:gd name="T6" fmla="*/ 9 w 24"/>
                <a:gd name="T7" fmla="*/ 7 h 20"/>
                <a:gd name="T8" fmla="*/ 0 w 24"/>
                <a:gd name="T9" fmla="*/ 6 h 20"/>
                <a:gd name="T10" fmla="*/ 6 w 24"/>
                <a:gd name="T11" fmla="*/ 12 h 20"/>
                <a:gd name="T12" fmla="*/ 1 w 24"/>
                <a:gd name="T13" fmla="*/ 19 h 20"/>
                <a:gd name="T14" fmla="*/ 11 w 24"/>
                <a:gd name="T15" fmla="*/ 15 h 20"/>
                <a:gd name="T16" fmla="*/ 18 w 24"/>
                <a:gd name="T17" fmla="*/ 20 h 20"/>
                <a:gd name="T18" fmla="*/ 16 w 24"/>
                <a:gd name="T19" fmla="*/ 13 h 20"/>
                <a:gd name="T20" fmla="*/ 24 w 24"/>
                <a:gd name="T21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20">
                  <a:moveTo>
                    <a:pt x="24" y="8"/>
                  </a:moveTo>
                  <a:lnTo>
                    <a:pt x="15" y="7"/>
                  </a:lnTo>
                  <a:lnTo>
                    <a:pt x="14" y="0"/>
                  </a:lnTo>
                  <a:lnTo>
                    <a:pt x="9" y="7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" y="19"/>
                  </a:lnTo>
                  <a:lnTo>
                    <a:pt x="11" y="15"/>
                  </a:lnTo>
                  <a:lnTo>
                    <a:pt x="18" y="20"/>
                  </a:lnTo>
                  <a:lnTo>
                    <a:pt x="16" y="13"/>
                  </a:lnTo>
                  <a:lnTo>
                    <a:pt x="24" y="8"/>
                  </a:ln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8" name="Freeform 10">
              <a:extLst>
                <a:ext uri="{FF2B5EF4-FFF2-40B4-BE49-F238E27FC236}">
                  <a16:creationId xmlns:a16="http://schemas.microsoft.com/office/drawing/2014/main" id="{D0CAA02A-71C1-298A-0C60-9C1B5DA53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5" y="387"/>
              <a:ext cx="21" cy="16"/>
            </a:xfrm>
            <a:custGeom>
              <a:avLst/>
              <a:gdLst>
                <a:gd name="T0" fmla="*/ 21 w 21"/>
                <a:gd name="T1" fmla="*/ 6 h 16"/>
                <a:gd name="T2" fmla="*/ 13 w 21"/>
                <a:gd name="T3" fmla="*/ 6 h 16"/>
                <a:gd name="T4" fmla="*/ 12 w 21"/>
                <a:gd name="T5" fmla="*/ 0 h 16"/>
                <a:gd name="T6" fmla="*/ 8 w 21"/>
                <a:gd name="T7" fmla="*/ 6 h 16"/>
                <a:gd name="T8" fmla="*/ 0 w 21"/>
                <a:gd name="T9" fmla="*/ 5 h 16"/>
                <a:gd name="T10" fmla="*/ 5 w 21"/>
                <a:gd name="T11" fmla="*/ 9 h 16"/>
                <a:gd name="T12" fmla="*/ 0 w 21"/>
                <a:gd name="T13" fmla="*/ 15 h 16"/>
                <a:gd name="T14" fmla="*/ 9 w 21"/>
                <a:gd name="T15" fmla="*/ 12 h 16"/>
                <a:gd name="T16" fmla="*/ 15 w 21"/>
                <a:gd name="T17" fmla="*/ 16 h 16"/>
                <a:gd name="T18" fmla="*/ 14 w 21"/>
                <a:gd name="T19" fmla="*/ 10 h 16"/>
                <a:gd name="T20" fmla="*/ 21 w 21"/>
                <a:gd name="T21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6">
                  <a:moveTo>
                    <a:pt x="21" y="6"/>
                  </a:moveTo>
                  <a:lnTo>
                    <a:pt x="13" y="6"/>
                  </a:lnTo>
                  <a:lnTo>
                    <a:pt x="12" y="0"/>
                  </a:lnTo>
                  <a:lnTo>
                    <a:pt x="8" y="6"/>
                  </a:lnTo>
                  <a:lnTo>
                    <a:pt x="0" y="5"/>
                  </a:lnTo>
                  <a:lnTo>
                    <a:pt x="5" y="9"/>
                  </a:lnTo>
                  <a:lnTo>
                    <a:pt x="0" y="15"/>
                  </a:lnTo>
                  <a:lnTo>
                    <a:pt x="9" y="12"/>
                  </a:lnTo>
                  <a:lnTo>
                    <a:pt x="15" y="16"/>
                  </a:lnTo>
                  <a:lnTo>
                    <a:pt x="14" y="10"/>
                  </a:lnTo>
                  <a:lnTo>
                    <a:pt x="21" y="6"/>
                  </a:ln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9" name="Freeform 11">
              <a:extLst>
                <a:ext uri="{FF2B5EF4-FFF2-40B4-BE49-F238E27FC236}">
                  <a16:creationId xmlns:a16="http://schemas.microsoft.com/office/drawing/2014/main" id="{FFB58B23-DBBC-0B73-FDB3-8EE27AAD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8" y="345"/>
              <a:ext cx="94" cy="120"/>
            </a:xfrm>
            <a:custGeom>
              <a:avLst/>
              <a:gdLst>
                <a:gd name="T0" fmla="*/ 726 w 763"/>
                <a:gd name="T1" fmla="*/ 275 h 935"/>
                <a:gd name="T2" fmla="*/ 620 w 763"/>
                <a:gd name="T3" fmla="*/ 129 h 935"/>
                <a:gd name="T4" fmla="*/ 452 w 763"/>
                <a:gd name="T5" fmla="*/ 35 h 935"/>
                <a:gd name="T6" fmla="*/ 243 w 763"/>
                <a:gd name="T7" fmla="*/ 2 h 935"/>
                <a:gd name="T8" fmla="*/ 243 w 763"/>
                <a:gd name="T9" fmla="*/ 266 h 935"/>
                <a:gd name="T10" fmla="*/ 384 w 763"/>
                <a:gd name="T11" fmla="*/ 318 h 935"/>
                <a:gd name="T12" fmla="*/ 451 w 763"/>
                <a:gd name="T13" fmla="*/ 468 h 935"/>
                <a:gd name="T14" fmla="*/ 451 w 763"/>
                <a:gd name="T15" fmla="*/ 472 h 935"/>
                <a:gd name="T16" fmla="*/ 387 w 763"/>
                <a:gd name="T17" fmla="*/ 616 h 935"/>
                <a:gd name="T18" fmla="*/ 208 w 763"/>
                <a:gd name="T19" fmla="*/ 674 h 935"/>
                <a:gd name="T20" fmla="*/ 0 w 763"/>
                <a:gd name="T21" fmla="*/ 674 h 935"/>
                <a:gd name="T22" fmla="*/ 0 w 763"/>
                <a:gd name="T23" fmla="*/ 935 h 935"/>
                <a:gd name="T24" fmla="*/ 198 w 763"/>
                <a:gd name="T25" fmla="*/ 935 h 935"/>
                <a:gd name="T26" fmla="*/ 418 w 763"/>
                <a:gd name="T27" fmla="*/ 905 h 935"/>
                <a:gd name="T28" fmla="*/ 598 w 763"/>
                <a:gd name="T29" fmla="*/ 817 h 935"/>
                <a:gd name="T30" fmla="*/ 719 w 763"/>
                <a:gd name="T31" fmla="*/ 670 h 935"/>
                <a:gd name="T32" fmla="*/ 763 w 763"/>
                <a:gd name="T33" fmla="*/ 466 h 935"/>
                <a:gd name="T34" fmla="*/ 763 w 763"/>
                <a:gd name="T35" fmla="*/ 462 h 935"/>
                <a:gd name="T36" fmla="*/ 726 w 763"/>
                <a:gd name="T37" fmla="*/ 275 h 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63" h="935">
                  <a:moveTo>
                    <a:pt x="726" y="275"/>
                  </a:moveTo>
                  <a:cubicBezTo>
                    <a:pt x="701" y="219"/>
                    <a:pt x="666" y="170"/>
                    <a:pt x="620" y="129"/>
                  </a:cubicBezTo>
                  <a:cubicBezTo>
                    <a:pt x="574" y="89"/>
                    <a:pt x="518" y="57"/>
                    <a:pt x="452" y="35"/>
                  </a:cubicBezTo>
                  <a:cubicBezTo>
                    <a:pt x="345" y="0"/>
                    <a:pt x="243" y="2"/>
                    <a:pt x="243" y="2"/>
                  </a:cubicBezTo>
                  <a:cubicBezTo>
                    <a:pt x="243" y="90"/>
                    <a:pt x="244" y="177"/>
                    <a:pt x="243" y="266"/>
                  </a:cubicBezTo>
                  <a:cubicBezTo>
                    <a:pt x="290" y="271"/>
                    <a:pt x="340" y="284"/>
                    <a:pt x="384" y="318"/>
                  </a:cubicBezTo>
                  <a:cubicBezTo>
                    <a:pt x="429" y="352"/>
                    <a:pt x="451" y="402"/>
                    <a:pt x="451" y="468"/>
                  </a:cubicBezTo>
                  <a:lnTo>
                    <a:pt x="451" y="472"/>
                  </a:lnTo>
                  <a:cubicBezTo>
                    <a:pt x="451" y="529"/>
                    <a:pt x="430" y="577"/>
                    <a:pt x="387" y="616"/>
                  </a:cubicBezTo>
                  <a:cubicBezTo>
                    <a:pt x="345" y="654"/>
                    <a:pt x="285" y="674"/>
                    <a:pt x="208" y="674"/>
                  </a:cubicBezTo>
                  <a:lnTo>
                    <a:pt x="0" y="674"/>
                  </a:lnTo>
                  <a:cubicBezTo>
                    <a:pt x="0" y="762"/>
                    <a:pt x="0" y="847"/>
                    <a:pt x="0" y="935"/>
                  </a:cubicBezTo>
                  <a:lnTo>
                    <a:pt x="198" y="935"/>
                  </a:lnTo>
                  <a:cubicBezTo>
                    <a:pt x="276" y="935"/>
                    <a:pt x="350" y="925"/>
                    <a:pt x="418" y="905"/>
                  </a:cubicBezTo>
                  <a:cubicBezTo>
                    <a:pt x="487" y="885"/>
                    <a:pt x="547" y="856"/>
                    <a:pt x="598" y="817"/>
                  </a:cubicBezTo>
                  <a:cubicBezTo>
                    <a:pt x="649" y="777"/>
                    <a:pt x="689" y="728"/>
                    <a:pt x="719" y="670"/>
                  </a:cubicBezTo>
                  <a:cubicBezTo>
                    <a:pt x="748" y="612"/>
                    <a:pt x="763" y="544"/>
                    <a:pt x="763" y="466"/>
                  </a:cubicBezTo>
                  <a:lnTo>
                    <a:pt x="763" y="462"/>
                  </a:lnTo>
                  <a:cubicBezTo>
                    <a:pt x="763" y="394"/>
                    <a:pt x="750" y="331"/>
                    <a:pt x="726" y="275"/>
                  </a:cubicBez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0" name="Freeform 12">
              <a:extLst>
                <a:ext uri="{FF2B5EF4-FFF2-40B4-BE49-F238E27FC236}">
                  <a16:creationId xmlns:a16="http://schemas.microsoft.com/office/drawing/2014/main" id="{DA460479-40CD-6EB6-34F6-EB402CBB68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5" y="356"/>
              <a:ext cx="29" cy="38"/>
            </a:xfrm>
            <a:custGeom>
              <a:avLst/>
              <a:gdLst>
                <a:gd name="T0" fmla="*/ 118 w 238"/>
                <a:gd name="T1" fmla="*/ 152 h 302"/>
                <a:gd name="T2" fmla="*/ 157 w 238"/>
                <a:gd name="T3" fmla="*/ 139 h 302"/>
                <a:gd name="T4" fmla="*/ 171 w 238"/>
                <a:gd name="T5" fmla="*/ 106 h 302"/>
                <a:gd name="T6" fmla="*/ 171 w 238"/>
                <a:gd name="T7" fmla="*/ 106 h 302"/>
                <a:gd name="T8" fmla="*/ 157 w 238"/>
                <a:gd name="T9" fmla="*/ 72 h 302"/>
                <a:gd name="T10" fmla="*/ 117 w 238"/>
                <a:gd name="T11" fmla="*/ 60 h 302"/>
                <a:gd name="T12" fmla="*/ 66 w 238"/>
                <a:gd name="T13" fmla="*/ 60 h 302"/>
                <a:gd name="T14" fmla="*/ 66 w 238"/>
                <a:gd name="T15" fmla="*/ 152 h 302"/>
                <a:gd name="T16" fmla="*/ 118 w 238"/>
                <a:gd name="T17" fmla="*/ 152 h 302"/>
                <a:gd name="T18" fmla="*/ 0 w 238"/>
                <a:gd name="T19" fmla="*/ 0 h 302"/>
                <a:gd name="T20" fmla="*/ 123 w 238"/>
                <a:gd name="T21" fmla="*/ 0 h 302"/>
                <a:gd name="T22" fmla="*/ 171 w 238"/>
                <a:gd name="T23" fmla="*/ 8 h 302"/>
                <a:gd name="T24" fmla="*/ 207 w 238"/>
                <a:gd name="T25" fmla="*/ 29 h 302"/>
                <a:gd name="T26" fmla="*/ 230 w 238"/>
                <a:gd name="T27" fmla="*/ 62 h 302"/>
                <a:gd name="T28" fmla="*/ 238 w 238"/>
                <a:gd name="T29" fmla="*/ 104 h 302"/>
                <a:gd name="T30" fmla="*/ 238 w 238"/>
                <a:gd name="T31" fmla="*/ 105 h 302"/>
                <a:gd name="T32" fmla="*/ 229 w 238"/>
                <a:gd name="T33" fmla="*/ 151 h 302"/>
                <a:gd name="T34" fmla="*/ 203 w 238"/>
                <a:gd name="T35" fmla="*/ 184 h 302"/>
                <a:gd name="T36" fmla="*/ 164 w 238"/>
                <a:gd name="T37" fmla="*/ 204 h 302"/>
                <a:gd name="T38" fmla="*/ 116 w 238"/>
                <a:gd name="T39" fmla="*/ 211 h 302"/>
                <a:gd name="T40" fmla="*/ 66 w 238"/>
                <a:gd name="T41" fmla="*/ 211 h 302"/>
                <a:gd name="T42" fmla="*/ 66 w 238"/>
                <a:gd name="T43" fmla="*/ 302 h 302"/>
                <a:gd name="T44" fmla="*/ 0 w 238"/>
                <a:gd name="T45" fmla="*/ 302 h 302"/>
                <a:gd name="T46" fmla="*/ 0 w 238"/>
                <a:gd name="T4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8" h="302">
                  <a:moveTo>
                    <a:pt x="118" y="152"/>
                  </a:moveTo>
                  <a:cubicBezTo>
                    <a:pt x="135" y="152"/>
                    <a:pt x="148" y="148"/>
                    <a:pt x="157" y="139"/>
                  </a:cubicBezTo>
                  <a:cubicBezTo>
                    <a:pt x="166" y="130"/>
                    <a:pt x="171" y="119"/>
                    <a:pt x="171" y="106"/>
                  </a:cubicBezTo>
                  <a:lnTo>
                    <a:pt x="171" y="106"/>
                  </a:lnTo>
                  <a:cubicBezTo>
                    <a:pt x="171" y="91"/>
                    <a:pt x="166" y="79"/>
                    <a:pt x="157" y="72"/>
                  </a:cubicBezTo>
                  <a:cubicBezTo>
                    <a:pt x="147" y="64"/>
                    <a:pt x="134" y="60"/>
                    <a:pt x="117" y="60"/>
                  </a:cubicBezTo>
                  <a:lnTo>
                    <a:pt x="66" y="60"/>
                  </a:lnTo>
                  <a:lnTo>
                    <a:pt x="66" y="152"/>
                  </a:lnTo>
                  <a:lnTo>
                    <a:pt x="118" y="152"/>
                  </a:lnTo>
                  <a:close/>
                  <a:moveTo>
                    <a:pt x="0" y="0"/>
                  </a:moveTo>
                  <a:lnTo>
                    <a:pt x="123" y="0"/>
                  </a:lnTo>
                  <a:cubicBezTo>
                    <a:pt x="141" y="0"/>
                    <a:pt x="157" y="3"/>
                    <a:pt x="171" y="8"/>
                  </a:cubicBezTo>
                  <a:cubicBezTo>
                    <a:pt x="185" y="13"/>
                    <a:pt x="197" y="20"/>
                    <a:pt x="207" y="29"/>
                  </a:cubicBezTo>
                  <a:cubicBezTo>
                    <a:pt x="217" y="38"/>
                    <a:pt x="225" y="49"/>
                    <a:pt x="230" y="62"/>
                  </a:cubicBezTo>
                  <a:cubicBezTo>
                    <a:pt x="236" y="75"/>
                    <a:pt x="238" y="89"/>
                    <a:pt x="238" y="104"/>
                  </a:cubicBezTo>
                  <a:lnTo>
                    <a:pt x="238" y="105"/>
                  </a:lnTo>
                  <a:cubicBezTo>
                    <a:pt x="238" y="123"/>
                    <a:pt x="235" y="138"/>
                    <a:pt x="229" y="151"/>
                  </a:cubicBezTo>
                  <a:cubicBezTo>
                    <a:pt x="222" y="164"/>
                    <a:pt x="214" y="175"/>
                    <a:pt x="203" y="184"/>
                  </a:cubicBezTo>
                  <a:cubicBezTo>
                    <a:pt x="192" y="193"/>
                    <a:pt x="179" y="200"/>
                    <a:pt x="164" y="204"/>
                  </a:cubicBezTo>
                  <a:cubicBezTo>
                    <a:pt x="149" y="209"/>
                    <a:pt x="133" y="211"/>
                    <a:pt x="116" y="211"/>
                  </a:cubicBezTo>
                  <a:lnTo>
                    <a:pt x="66" y="211"/>
                  </a:lnTo>
                  <a:lnTo>
                    <a:pt x="66" y="302"/>
                  </a:lnTo>
                  <a:lnTo>
                    <a:pt x="0" y="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" name="Rectangle 13">
              <a:extLst>
                <a:ext uri="{FF2B5EF4-FFF2-40B4-BE49-F238E27FC236}">
                  <a16:creationId xmlns:a16="http://schemas.microsoft.com/office/drawing/2014/main" id="{9606E107-11B7-F158-C4FA-48E58F3561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0" y="354"/>
              <a:ext cx="8" cy="40"/>
            </a:xfrm>
            <a:prstGeom prst="rect">
              <a:avLst/>
            </a:pr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" name="Freeform 14">
              <a:extLst>
                <a:ext uri="{FF2B5EF4-FFF2-40B4-BE49-F238E27FC236}">
                  <a16:creationId xmlns:a16="http://schemas.microsoft.com/office/drawing/2014/main" id="{D7D2C2E1-4E70-51F7-0CA0-98849751BA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" y="364"/>
              <a:ext cx="26" cy="31"/>
            </a:xfrm>
            <a:custGeom>
              <a:avLst/>
              <a:gdLst>
                <a:gd name="T0" fmla="*/ 99 w 212"/>
                <a:gd name="T1" fmla="*/ 193 h 238"/>
                <a:gd name="T2" fmla="*/ 136 w 212"/>
                <a:gd name="T3" fmla="*/ 181 h 238"/>
                <a:gd name="T4" fmla="*/ 150 w 212"/>
                <a:gd name="T5" fmla="*/ 152 h 238"/>
                <a:gd name="T6" fmla="*/ 150 w 212"/>
                <a:gd name="T7" fmla="*/ 141 h 238"/>
                <a:gd name="T8" fmla="*/ 131 w 212"/>
                <a:gd name="T9" fmla="*/ 134 h 238"/>
                <a:gd name="T10" fmla="*/ 108 w 212"/>
                <a:gd name="T11" fmla="*/ 132 h 238"/>
                <a:gd name="T12" fmla="*/ 75 w 212"/>
                <a:gd name="T13" fmla="*/ 140 h 238"/>
                <a:gd name="T14" fmla="*/ 63 w 212"/>
                <a:gd name="T15" fmla="*/ 164 h 238"/>
                <a:gd name="T16" fmla="*/ 63 w 212"/>
                <a:gd name="T17" fmla="*/ 165 h 238"/>
                <a:gd name="T18" fmla="*/ 73 w 212"/>
                <a:gd name="T19" fmla="*/ 185 h 238"/>
                <a:gd name="T20" fmla="*/ 99 w 212"/>
                <a:gd name="T21" fmla="*/ 193 h 238"/>
                <a:gd name="T22" fmla="*/ 79 w 212"/>
                <a:gd name="T23" fmla="*/ 238 h 238"/>
                <a:gd name="T24" fmla="*/ 48 w 212"/>
                <a:gd name="T25" fmla="*/ 233 h 238"/>
                <a:gd name="T26" fmla="*/ 23 w 212"/>
                <a:gd name="T27" fmla="*/ 220 h 238"/>
                <a:gd name="T28" fmla="*/ 6 w 212"/>
                <a:gd name="T29" fmla="*/ 198 h 238"/>
                <a:gd name="T30" fmla="*/ 0 w 212"/>
                <a:gd name="T31" fmla="*/ 167 h 238"/>
                <a:gd name="T32" fmla="*/ 0 w 212"/>
                <a:gd name="T33" fmla="*/ 166 h 238"/>
                <a:gd name="T34" fmla="*/ 7 w 212"/>
                <a:gd name="T35" fmla="*/ 134 h 238"/>
                <a:gd name="T36" fmla="*/ 26 w 212"/>
                <a:gd name="T37" fmla="*/ 111 h 238"/>
                <a:gd name="T38" fmla="*/ 55 w 212"/>
                <a:gd name="T39" fmla="*/ 97 h 238"/>
                <a:gd name="T40" fmla="*/ 93 w 212"/>
                <a:gd name="T41" fmla="*/ 93 h 238"/>
                <a:gd name="T42" fmla="*/ 124 w 212"/>
                <a:gd name="T43" fmla="*/ 95 h 238"/>
                <a:gd name="T44" fmla="*/ 149 w 212"/>
                <a:gd name="T45" fmla="*/ 102 h 238"/>
                <a:gd name="T46" fmla="*/ 149 w 212"/>
                <a:gd name="T47" fmla="*/ 98 h 238"/>
                <a:gd name="T48" fmla="*/ 137 w 212"/>
                <a:gd name="T49" fmla="*/ 67 h 238"/>
                <a:gd name="T50" fmla="*/ 100 w 212"/>
                <a:gd name="T51" fmla="*/ 56 h 238"/>
                <a:gd name="T52" fmla="*/ 66 w 212"/>
                <a:gd name="T53" fmla="*/ 59 h 238"/>
                <a:gd name="T54" fmla="*/ 36 w 212"/>
                <a:gd name="T55" fmla="*/ 69 h 238"/>
                <a:gd name="T56" fmla="*/ 20 w 212"/>
                <a:gd name="T57" fmla="*/ 19 h 238"/>
                <a:gd name="T58" fmla="*/ 59 w 212"/>
                <a:gd name="T59" fmla="*/ 5 h 238"/>
                <a:gd name="T60" fmla="*/ 109 w 212"/>
                <a:gd name="T61" fmla="*/ 0 h 238"/>
                <a:gd name="T62" fmla="*/ 155 w 212"/>
                <a:gd name="T63" fmla="*/ 7 h 238"/>
                <a:gd name="T64" fmla="*/ 187 w 212"/>
                <a:gd name="T65" fmla="*/ 26 h 238"/>
                <a:gd name="T66" fmla="*/ 206 w 212"/>
                <a:gd name="T67" fmla="*/ 58 h 238"/>
                <a:gd name="T68" fmla="*/ 212 w 212"/>
                <a:gd name="T69" fmla="*/ 100 h 238"/>
                <a:gd name="T70" fmla="*/ 212 w 212"/>
                <a:gd name="T71" fmla="*/ 234 h 238"/>
                <a:gd name="T72" fmla="*/ 149 w 212"/>
                <a:gd name="T73" fmla="*/ 234 h 238"/>
                <a:gd name="T74" fmla="*/ 149 w 212"/>
                <a:gd name="T75" fmla="*/ 209 h 238"/>
                <a:gd name="T76" fmla="*/ 120 w 212"/>
                <a:gd name="T77" fmla="*/ 230 h 238"/>
                <a:gd name="T78" fmla="*/ 79 w 212"/>
                <a:gd name="T7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2" h="238">
                  <a:moveTo>
                    <a:pt x="99" y="193"/>
                  </a:moveTo>
                  <a:cubicBezTo>
                    <a:pt x="114" y="193"/>
                    <a:pt x="127" y="189"/>
                    <a:pt x="136" y="181"/>
                  </a:cubicBezTo>
                  <a:cubicBezTo>
                    <a:pt x="145" y="174"/>
                    <a:pt x="150" y="164"/>
                    <a:pt x="150" y="152"/>
                  </a:cubicBezTo>
                  <a:lnTo>
                    <a:pt x="150" y="141"/>
                  </a:lnTo>
                  <a:cubicBezTo>
                    <a:pt x="144" y="138"/>
                    <a:pt x="138" y="136"/>
                    <a:pt x="131" y="134"/>
                  </a:cubicBezTo>
                  <a:cubicBezTo>
                    <a:pt x="124" y="133"/>
                    <a:pt x="116" y="132"/>
                    <a:pt x="108" y="132"/>
                  </a:cubicBezTo>
                  <a:cubicBezTo>
                    <a:pt x="94" y="132"/>
                    <a:pt x="83" y="135"/>
                    <a:pt x="75" y="140"/>
                  </a:cubicBezTo>
                  <a:cubicBezTo>
                    <a:pt x="67" y="146"/>
                    <a:pt x="63" y="153"/>
                    <a:pt x="63" y="164"/>
                  </a:cubicBezTo>
                  <a:lnTo>
                    <a:pt x="63" y="165"/>
                  </a:lnTo>
                  <a:cubicBezTo>
                    <a:pt x="63" y="174"/>
                    <a:pt x="66" y="180"/>
                    <a:pt x="73" y="185"/>
                  </a:cubicBezTo>
                  <a:cubicBezTo>
                    <a:pt x="80" y="190"/>
                    <a:pt x="88" y="193"/>
                    <a:pt x="99" y="193"/>
                  </a:cubicBezTo>
                  <a:close/>
                  <a:moveTo>
                    <a:pt x="79" y="238"/>
                  </a:moveTo>
                  <a:cubicBezTo>
                    <a:pt x="68" y="238"/>
                    <a:pt x="58" y="236"/>
                    <a:pt x="48" y="233"/>
                  </a:cubicBezTo>
                  <a:cubicBezTo>
                    <a:pt x="39" y="230"/>
                    <a:pt x="30" y="226"/>
                    <a:pt x="23" y="220"/>
                  </a:cubicBezTo>
                  <a:cubicBezTo>
                    <a:pt x="16" y="214"/>
                    <a:pt x="10" y="206"/>
                    <a:pt x="6" y="198"/>
                  </a:cubicBezTo>
                  <a:cubicBezTo>
                    <a:pt x="2" y="189"/>
                    <a:pt x="0" y="179"/>
                    <a:pt x="0" y="167"/>
                  </a:cubicBezTo>
                  <a:lnTo>
                    <a:pt x="0" y="166"/>
                  </a:lnTo>
                  <a:cubicBezTo>
                    <a:pt x="0" y="154"/>
                    <a:pt x="2" y="143"/>
                    <a:pt x="7" y="134"/>
                  </a:cubicBezTo>
                  <a:cubicBezTo>
                    <a:pt x="11" y="124"/>
                    <a:pt x="18" y="117"/>
                    <a:pt x="26" y="111"/>
                  </a:cubicBezTo>
                  <a:cubicBezTo>
                    <a:pt x="34" y="105"/>
                    <a:pt x="44" y="100"/>
                    <a:pt x="55" y="97"/>
                  </a:cubicBezTo>
                  <a:cubicBezTo>
                    <a:pt x="66" y="94"/>
                    <a:pt x="79" y="93"/>
                    <a:pt x="93" y="93"/>
                  </a:cubicBezTo>
                  <a:cubicBezTo>
                    <a:pt x="105" y="93"/>
                    <a:pt x="115" y="94"/>
                    <a:pt x="124" y="95"/>
                  </a:cubicBezTo>
                  <a:cubicBezTo>
                    <a:pt x="132" y="97"/>
                    <a:pt x="141" y="99"/>
                    <a:pt x="149" y="102"/>
                  </a:cubicBezTo>
                  <a:lnTo>
                    <a:pt x="149" y="98"/>
                  </a:lnTo>
                  <a:cubicBezTo>
                    <a:pt x="149" y="85"/>
                    <a:pt x="145" y="74"/>
                    <a:pt x="137" y="67"/>
                  </a:cubicBezTo>
                  <a:cubicBezTo>
                    <a:pt x="128" y="60"/>
                    <a:pt x="116" y="56"/>
                    <a:pt x="100" y="56"/>
                  </a:cubicBezTo>
                  <a:cubicBezTo>
                    <a:pt x="87" y="56"/>
                    <a:pt x="76" y="57"/>
                    <a:pt x="66" y="59"/>
                  </a:cubicBezTo>
                  <a:cubicBezTo>
                    <a:pt x="57" y="61"/>
                    <a:pt x="47" y="65"/>
                    <a:pt x="36" y="69"/>
                  </a:cubicBezTo>
                  <a:lnTo>
                    <a:pt x="20" y="19"/>
                  </a:lnTo>
                  <a:cubicBezTo>
                    <a:pt x="32" y="13"/>
                    <a:pt x="45" y="9"/>
                    <a:pt x="59" y="5"/>
                  </a:cubicBezTo>
                  <a:cubicBezTo>
                    <a:pt x="73" y="2"/>
                    <a:pt x="90" y="0"/>
                    <a:pt x="109" y="0"/>
                  </a:cubicBezTo>
                  <a:cubicBezTo>
                    <a:pt x="127" y="0"/>
                    <a:pt x="143" y="2"/>
                    <a:pt x="155" y="7"/>
                  </a:cubicBezTo>
                  <a:cubicBezTo>
                    <a:pt x="168" y="11"/>
                    <a:pt x="179" y="18"/>
                    <a:pt x="187" y="26"/>
                  </a:cubicBezTo>
                  <a:cubicBezTo>
                    <a:pt x="196" y="35"/>
                    <a:pt x="202" y="45"/>
                    <a:pt x="206" y="58"/>
                  </a:cubicBezTo>
                  <a:cubicBezTo>
                    <a:pt x="210" y="70"/>
                    <a:pt x="212" y="84"/>
                    <a:pt x="212" y="100"/>
                  </a:cubicBezTo>
                  <a:lnTo>
                    <a:pt x="212" y="234"/>
                  </a:lnTo>
                  <a:lnTo>
                    <a:pt x="149" y="234"/>
                  </a:lnTo>
                  <a:lnTo>
                    <a:pt x="149" y="209"/>
                  </a:lnTo>
                  <a:cubicBezTo>
                    <a:pt x="141" y="217"/>
                    <a:pt x="131" y="225"/>
                    <a:pt x="120" y="230"/>
                  </a:cubicBezTo>
                  <a:cubicBezTo>
                    <a:pt x="109" y="235"/>
                    <a:pt x="95" y="238"/>
                    <a:pt x="79" y="2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5">
              <a:extLst>
                <a:ext uri="{FF2B5EF4-FFF2-40B4-BE49-F238E27FC236}">
                  <a16:creationId xmlns:a16="http://schemas.microsoft.com/office/drawing/2014/main" id="{499E7415-75AF-D6A0-AEBA-7A07E2A99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7" y="364"/>
              <a:ext cx="27" cy="30"/>
            </a:xfrm>
            <a:custGeom>
              <a:avLst/>
              <a:gdLst>
                <a:gd name="T0" fmla="*/ 0 w 211"/>
                <a:gd name="T1" fmla="*/ 5 h 236"/>
                <a:gd name="T2" fmla="*/ 65 w 211"/>
                <a:gd name="T3" fmla="*/ 5 h 236"/>
                <a:gd name="T4" fmla="*/ 65 w 211"/>
                <a:gd name="T5" fmla="*/ 38 h 236"/>
                <a:gd name="T6" fmla="*/ 77 w 211"/>
                <a:gd name="T7" fmla="*/ 24 h 236"/>
                <a:gd name="T8" fmla="*/ 92 w 211"/>
                <a:gd name="T9" fmla="*/ 12 h 236"/>
                <a:gd name="T10" fmla="*/ 110 w 211"/>
                <a:gd name="T11" fmla="*/ 3 h 236"/>
                <a:gd name="T12" fmla="*/ 133 w 211"/>
                <a:gd name="T13" fmla="*/ 0 h 236"/>
                <a:gd name="T14" fmla="*/ 191 w 211"/>
                <a:gd name="T15" fmla="*/ 23 h 236"/>
                <a:gd name="T16" fmla="*/ 211 w 211"/>
                <a:gd name="T17" fmla="*/ 86 h 236"/>
                <a:gd name="T18" fmla="*/ 211 w 211"/>
                <a:gd name="T19" fmla="*/ 236 h 236"/>
                <a:gd name="T20" fmla="*/ 146 w 211"/>
                <a:gd name="T21" fmla="*/ 236 h 236"/>
                <a:gd name="T22" fmla="*/ 146 w 211"/>
                <a:gd name="T23" fmla="*/ 107 h 236"/>
                <a:gd name="T24" fmla="*/ 135 w 211"/>
                <a:gd name="T25" fmla="*/ 72 h 236"/>
                <a:gd name="T26" fmla="*/ 106 w 211"/>
                <a:gd name="T27" fmla="*/ 60 h 236"/>
                <a:gd name="T28" fmla="*/ 76 w 211"/>
                <a:gd name="T29" fmla="*/ 72 h 236"/>
                <a:gd name="T30" fmla="*/ 65 w 211"/>
                <a:gd name="T31" fmla="*/ 107 h 236"/>
                <a:gd name="T32" fmla="*/ 65 w 211"/>
                <a:gd name="T33" fmla="*/ 236 h 236"/>
                <a:gd name="T34" fmla="*/ 0 w 211"/>
                <a:gd name="T35" fmla="*/ 236 h 236"/>
                <a:gd name="T36" fmla="*/ 0 w 211"/>
                <a:gd name="T37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1" h="236">
                  <a:moveTo>
                    <a:pt x="0" y="5"/>
                  </a:moveTo>
                  <a:lnTo>
                    <a:pt x="65" y="5"/>
                  </a:lnTo>
                  <a:lnTo>
                    <a:pt x="65" y="38"/>
                  </a:lnTo>
                  <a:cubicBezTo>
                    <a:pt x="69" y="33"/>
                    <a:pt x="73" y="28"/>
                    <a:pt x="77" y="24"/>
                  </a:cubicBezTo>
                  <a:cubicBezTo>
                    <a:pt x="82" y="19"/>
                    <a:pt x="87" y="15"/>
                    <a:pt x="92" y="12"/>
                  </a:cubicBezTo>
                  <a:cubicBezTo>
                    <a:pt x="98" y="8"/>
                    <a:pt x="104" y="5"/>
                    <a:pt x="110" y="3"/>
                  </a:cubicBezTo>
                  <a:cubicBezTo>
                    <a:pt x="117" y="1"/>
                    <a:pt x="124" y="0"/>
                    <a:pt x="133" y="0"/>
                  </a:cubicBezTo>
                  <a:cubicBezTo>
                    <a:pt x="158" y="0"/>
                    <a:pt x="177" y="8"/>
                    <a:pt x="191" y="23"/>
                  </a:cubicBezTo>
                  <a:cubicBezTo>
                    <a:pt x="204" y="38"/>
                    <a:pt x="211" y="59"/>
                    <a:pt x="211" y="86"/>
                  </a:cubicBezTo>
                  <a:lnTo>
                    <a:pt x="211" y="236"/>
                  </a:lnTo>
                  <a:lnTo>
                    <a:pt x="146" y="236"/>
                  </a:lnTo>
                  <a:lnTo>
                    <a:pt x="146" y="107"/>
                  </a:lnTo>
                  <a:cubicBezTo>
                    <a:pt x="146" y="92"/>
                    <a:pt x="142" y="80"/>
                    <a:pt x="135" y="72"/>
                  </a:cubicBezTo>
                  <a:cubicBezTo>
                    <a:pt x="128" y="64"/>
                    <a:pt x="119" y="60"/>
                    <a:pt x="106" y="60"/>
                  </a:cubicBezTo>
                  <a:cubicBezTo>
                    <a:pt x="93" y="60"/>
                    <a:pt x="83" y="64"/>
                    <a:pt x="76" y="72"/>
                  </a:cubicBezTo>
                  <a:cubicBezTo>
                    <a:pt x="69" y="80"/>
                    <a:pt x="65" y="92"/>
                    <a:pt x="65" y="107"/>
                  </a:cubicBezTo>
                  <a:lnTo>
                    <a:pt x="65" y="236"/>
                  </a:lnTo>
                  <a:lnTo>
                    <a:pt x="0" y="236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4" name="Freeform 16">
              <a:extLst>
                <a:ext uri="{FF2B5EF4-FFF2-40B4-BE49-F238E27FC236}">
                  <a16:creationId xmlns:a16="http://schemas.microsoft.com/office/drawing/2014/main" id="{5DDD2874-AD8B-D179-F2B7-C10A0795C8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5" y="354"/>
              <a:ext cx="30" cy="41"/>
            </a:xfrm>
            <a:custGeom>
              <a:avLst/>
              <a:gdLst>
                <a:gd name="T0" fmla="*/ 122 w 242"/>
                <a:gd name="T1" fmla="*/ 263 h 319"/>
                <a:gd name="T2" fmla="*/ 144 w 242"/>
                <a:gd name="T3" fmla="*/ 259 h 319"/>
                <a:gd name="T4" fmla="*/ 161 w 242"/>
                <a:gd name="T5" fmla="*/ 246 h 319"/>
                <a:gd name="T6" fmla="*/ 173 w 242"/>
                <a:gd name="T7" fmla="*/ 226 h 319"/>
                <a:gd name="T8" fmla="*/ 178 w 242"/>
                <a:gd name="T9" fmla="*/ 200 h 319"/>
                <a:gd name="T10" fmla="*/ 178 w 242"/>
                <a:gd name="T11" fmla="*/ 199 h 319"/>
                <a:gd name="T12" fmla="*/ 173 w 242"/>
                <a:gd name="T13" fmla="*/ 173 h 319"/>
                <a:gd name="T14" fmla="*/ 161 w 242"/>
                <a:gd name="T15" fmla="*/ 152 h 319"/>
                <a:gd name="T16" fmla="*/ 144 w 242"/>
                <a:gd name="T17" fmla="*/ 139 h 319"/>
                <a:gd name="T18" fmla="*/ 122 w 242"/>
                <a:gd name="T19" fmla="*/ 135 h 319"/>
                <a:gd name="T20" fmla="*/ 100 w 242"/>
                <a:gd name="T21" fmla="*/ 139 h 319"/>
                <a:gd name="T22" fmla="*/ 82 w 242"/>
                <a:gd name="T23" fmla="*/ 152 h 319"/>
                <a:gd name="T24" fmla="*/ 70 w 242"/>
                <a:gd name="T25" fmla="*/ 172 h 319"/>
                <a:gd name="T26" fmla="*/ 65 w 242"/>
                <a:gd name="T27" fmla="*/ 199 h 319"/>
                <a:gd name="T28" fmla="*/ 65 w 242"/>
                <a:gd name="T29" fmla="*/ 200 h 319"/>
                <a:gd name="T30" fmla="*/ 70 w 242"/>
                <a:gd name="T31" fmla="*/ 226 h 319"/>
                <a:gd name="T32" fmla="*/ 82 w 242"/>
                <a:gd name="T33" fmla="*/ 246 h 319"/>
                <a:gd name="T34" fmla="*/ 100 w 242"/>
                <a:gd name="T35" fmla="*/ 259 h 319"/>
                <a:gd name="T36" fmla="*/ 122 w 242"/>
                <a:gd name="T37" fmla="*/ 263 h 319"/>
                <a:gd name="T38" fmla="*/ 105 w 242"/>
                <a:gd name="T39" fmla="*/ 319 h 319"/>
                <a:gd name="T40" fmla="*/ 66 w 242"/>
                <a:gd name="T41" fmla="*/ 311 h 319"/>
                <a:gd name="T42" fmla="*/ 32 w 242"/>
                <a:gd name="T43" fmla="*/ 288 h 319"/>
                <a:gd name="T44" fmla="*/ 9 w 242"/>
                <a:gd name="T45" fmla="*/ 251 h 319"/>
                <a:gd name="T46" fmla="*/ 0 w 242"/>
                <a:gd name="T47" fmla="*/ 200 h 319"/>
                <a:gd name="T48" fmla="*/ 0 w 242"/>
                <a:gd name="T49" fmla="*/ 199 h 319"/>
                <a:gd name="T50" fmla="*/ 9 w 242"/>
                <a:gd name="T51" fmla="*/ 148 h 319"/>
                <a:gd name="T52" fmla="*/ 32 w 242"/>
                <a:gd name="T53" fmla="*/ 110 h 319"/>
                <a:gd name="T54" fmla="*/ 65 w 242"/>
                <a:gd name="T55" fmla="*/ 87 h 319"/>
                <a:gd name="T56" fmla="*/ 105 w 242"/>
                <a:gd name="T57" fmla="*/ 79 h 319"/>
                <a:gd name="T58" fmla="*/ 148 w 242"/>
                <a:gd name="T59" fmla="*/ 90 h 319"/>
                <a:gd name="T60" fmla="*/ 177 w 242"/>
                <a:gd name="T61" fmla="*/ 114 h 319"/>
                <a:gd name="T62" fmla="*/ 177 w 242"/>
                <a:gd name="T63" fmla="*/ 0 h 319"/>
                <a:gd name="T64" fmla="*/ 242 w 242"/>
                <a:gd name="T65" fmla="*/ 0 h 319"/>
                <a:gd name="T66" fmla="*/ 242 w 242"/>
                <a:gd name="T67" fmla="*/ 315 h 319"/>
                <a:gd name="T68" fmla="*/ 177 w 242"/>
                <a:gd name="T69" fmla="*/ 315 h 319"/>
                <a:gd name="T70" fmla="*/ 177 w 242"/>
                <a:gd name="T71" fmla="*/ 281 h 319"/>
                <a:gd name="T72" fmla="*/ 148 w 242"/>
                <a:gd name="T73" fmla="*/ 308 h 319"/>
                <a:gd name="T74" fmla="*/ 105 w 242"/>
                <a:gd name="T75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2" h="319">
                  <a:moveTo>
                    <a:pt x="122" y="263"/>
                  </a:moveTo>
                  <a:cubicBezTo>
                    <a:pt x="130" y="263"/>
                    <a:pt x="137" y="262"/>
                    <a:pt x="144" y="259"/>
                  </a:cubicBezTo>
                  <a:cubicBezTo>
                    <a:pt x="150" y="256"/>
                    <a:pt x="156" y="251"/>
                    <a:pt x="161" y="246"/>
                  </a:cubicBezTo>
                  <a:cubicBezTo>
                    <a:pt x="166" y="240"/>
                    <a:pt x="170" y="234"/>
                    <a:pt x="173" y="226"/>
                  </a:cubicBezTo>
                  <a:cubicBezTo>
                    <a:pt x="176" y="218"/>
                    <a:pt x="178" y="209"/>
                    <a:pt x="178" y="200"/>
                  </a:cubicBezTo>
                  <a:lnTo>
                    <a:pt x="178" y="199"/>
                  </a:lnTo>
                  <a:cubicBezTo>
                    <a:pt x="178" y="189"/>
                    <a:pt x="176" y="181"/>
                    <a:pt x="173" y="173"/>
                  </a:cubicBezTo>
                  <a:cubicBezTo>
                    <a:pt x="170" y="165"/>
                    <a:pt x="166" y="158"/>
                    <a:pt x="161" y="152"/>
                  </a:cubicBezTo>
                  <a:cubicBezTo>
                    <a:pt x="156" y="147"/>
                    <a:pt x="150" y="142"/>
                    <a:pt x="144" y="139"/>
                  </a:cubicBezTo>
                  <a:cubicBezTo>
                    <a:pt x="137" y="136"/>
                    <a:pt x="130" y="135"/>
                    <a:pt x="122" y="135"/>
                  </a:cubicBezTo>
                  <a:cubicBezTo>
                    <a:pt x="114" y="135"/>
                    <a:pt x="107" y="136"/>
                    <a:pt x="100" y="139"/>
                  </a:cubicBezTo>
                  <a:cubicBezTo>
                    <a:pt x="93" y="142"/>
                    <a:pt x="87" y="147"/>
                    <a:pt x="82" y="152"/>
                  </a:cubicBezTo>
                  <a:cubicBezTo>
                    <a:pt x="77" y="158"/>
                    <a:pt x="73" y="165"/>
                    <a:pt x="70" y="172"/>
                  </a:cubicBezTo>
                  <a:cubicBezTo>
                    <a:pt x="67" y="180"/>
                    <a:pt x="65" y="189"/>
                    <a:pt x="65" y="199"/>
                  </a:cubicBezTo>
                  <a:lnTo>
                    <a:pt x="65" y="200"/>
                  </a:lnTo>
                  <a:cubicBezTo>
                    <a:pt x="65" y="209"/>
                    <a:pt x="67" y="218"/>
                    <a:pt x="70" y="226"/>
                  </a:cubicBezTo>
                  <a:cubicBezTo>
                    <a:pt x="73" y="234"/>
                    <a:pt x="77" y="240"/>
                    <a:pt x="82" y="246"/>
                  </a:cubicBezTo>
                  <a:cubicBezTo>
                    <a:pt x="87" y="251"/>
                    <a:pt x="93" y="256"/>
                    <a:pt x="100" y="259"/>
                  </a:cubicBezTo>
                  <a:cubicBezTo>
                    <a:pt x="107" y="262"/>
                    <a:pt x="114" y="263"/>
                    <a:pt x="122" y="263"/>
                  </a:cubicBezTo>
                  <a:close/>
                  <a:moveTo>
                    <a:pt x="105" y="319"/>
                  </a:moveTo>
                  <a:cubicBezTo>
                    <a:pt x="91" y="319"/>
                    <a:pt x="78" y="316"/>
                    <a:pt x="66" y="311"/>
                  </a:cubicBezTo>
                  <a:cubicBezTo>
                    <a:pt x="53" y="306"/>
                    <a:pt x="42" y="298"/>
                    <a:pt x="32" y="288"/>
                  </a:cubicBezTo>
                  <a:cubicBezTo>
                    <a:pt x="22" y="278"/>
                    <a:pt x="15" y="265"/>
                    <a:pt x="9" y="251"/>
                  </a:cubicBezTo>
                  <a:cubicBezTo>
                    <a:pt x="3" y="236"/>
                    <a:pt x="0" y="219"/>
                    <a:pt x="0" y="200"/>
                  </a:cubicBezTo>
                  <a:lnTo>
                    <a:pt x="0" y="199"/>
                  </a:lnTo>
                  <a:cubicBezTo>
                    <a:pt x="0" y="179"/>
                    <a:pt x="3" y="162"/>
                    <a:pt x="9" y="148"/>
                  </a:cubicBezTo>
                  <a:cubicBezTo>
                    <a:pt x="15" y="133"/>
                    <a:pt x="22" y="120"/>
                    <a:pt x="32" y="110"/>
                  </a:cubicBezTo>
                  <a:cubicBezTo>
                    <a:pt x="42" y="100"/>
                    <a:pt x="53" y="92"/>
                    <a:pt x="65" y="87"/>
                  </a:cubicBezTo>
                  <a:cubicBezTo>
                    <a:pt x="78" y="82"/>
                    <a:pt x="91" y="79"/>
                    <a:pt x="105" y="79"/>
                  </a:cubicBezTo>
                  <a:cubicBezTo>
                    <a:pt x="122" y="79"/>
                    <a:pt x="137" y="83"/>
                    <a:pt x="148" y="90"/>
                  </a:cubicBezTo>
                  <a:cubicBezTo>
                    <a:pt x="160" y="97"/>
                    <a:pt x="169" y="105"/>
                    <a:pt x="177" y="114"/>
                  </a:cubicBezTo>
                  <a:lnTo>
                    <a:pt x="177" y="0"/>
                  </a:lnTo>
                  <a:lnTo>
                    <a:pt x="242" y="0"/>
                  </a:lnTo>
                  <a:lnTo>
                    <a:pt x="242" y="315"/>
                  </a:lnTo>
                  <a:lnTo>
                    <a:pt x="177" y="315"/>
                  </a:lnTo>
                  <a:lnTo>
                    <a:pt x="177" y="281"/>
                  </a:lnTo>
                  <a:cubicBezTo>
                    <a:pt x="169" y="292"/>
                    <a:pt x="159" y="301"/>
                    <a:pt x="148" y="308"/>
                  </a:cubicBezTo>
                  <a:cubicBezTo>
                    <a:pt x="136" y="315"/>
                    <a:pt x="122" y="319"/>
                    <a:pt x="105" y="319"/>
                  </a:cubicBez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" name="Freeform 17">
              <a:extLst>
                <a:ext uri="{FF2B5EF4-FFF2-40B4-BE49-F238E27FC236}">
                  <a16:creationId xmlns:a16="http://schemas.microsoft.com/office/drawing/2014/main" id="{209AD389-C222-223F-51C8-F97908D00D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1" y="364"/>
              <a:ext cx="28" cy="31"/>
            </a:xfrm>
            <a:custGeom>
              <a:avLst/>
              <a:gdLst>
                <a:gd name="T0" fmla="*/ 163 w 226"/>
                <a:gd name="T1" fmla="*/ 102 h 241"/>
                <a:gd name="T2" fmla="*/ 147 w 226"/>
                <a:gd name="T3" fmla="*/ 66 h 241"/>
                <a:gd name="T4" fmla="*/ 114 w 226"/>
                <a:gd name="T5" fmla="*/ 53 h 241"/>
                <a:gd name="T6" fmla="*/ 81 w 226"/>
                <a:gd name="T7" fmla="*/ 66 h 241"/>
                <a:gd name="T8" fmla="*/ 64 w 226"/>
                <a:gd name="T9" fmla="*/ 102 h 241"/>
                <a:gd name="T10" fmla="*/ 163 w 226"/>
                <a:gd name="T11" fmla="*/ 102 h 241"/>
                <a:gd name="T12" fmla="*/ 120 w 226"/>
                <a:gd name="T13" fmla="*/ 241 h 241"/>
                <a:gd name="T14" fmla="*/ 72 w 226"/>
                <a:gd name="T15" fmla="*/ 232 h 241"/>
                <a:gd name="T16" fmla="*/ 34 w 226"/>
                <a:gd name="T17" fmla="*/ 208 h 241"/>
                <a:gd name="T18" fmla="*/ 9 w 226"/>
                <a:gd name="T19" fmla="*/ 170 h 241"/>
                <a:gd name="T20" fmla="*/ 0 w 226"/>
                <a:gd name="T21" fmla="*/ 121 h 241"/>
                <a:gd name="T22" fmla="*/ 0 w 226"/>
                <a:gd name="T23" fmla="*/ 121 h 241"/>
                <a:gd name="T24" fmla="*/ 8 w 226"/>
                <a:gd name="T25" fmla="*/ 74 h 241"/>
                <a:gd name="T26" fmla="*/ 32 w 226"/>
                <a:gd name="T27" fmla="*/ 36 h 241"/>
                <a:gd name="T28" fmla="*/ 68 w 226"/>
                <a:gd name="T29" fmla="*/ 10 h 241"/>
                <a:gd name="T30" fmla="*/ 114 w 226"/>
                <a:gd name="T31" fmla="*/ 0 h 241"/>
                <a:gd name="T32" fmla="*/ 164 w 226"/>
                <a:gd name="T33" fmla="*/ 11 h 241"/>
                <a:gd name="T34" fmla="*/ 199 w 226"/>
                <a:gd name="T35" fmla="*/ 38 h 241"/>
                <a:gd name="T36" fmla="*/ 220 w 226"/>
                <a:gd name="T37" fmla="*/ 79 h 241"/>
                <a:gd name="T38" fmla="*/ 226 w 226"/>
                <a:gd name="T39" fmla="*/ 126 h 241"/>
                <a:gd name="T40" fmla="*/ 226 w 226"/>
                <a:gd name="T41" fmla="*/ 134 h 241"/>
                <a:gd name="T42" fmla="*/ 226 w 226"/>
                <a:gd name="T43" fmla="*/ 143 h 241"/>
                <a:gd name="T44" fmla="*/ 65 w 226"/>
                <a:gd name="T45" fmla="*/ 143 h 241"/>
                <a:gd name="T46" fmla="*/ 84 w 226"/>
                <a:gd name="T47" fmla="*/ 177 h 241"/>
                <a:gd name="T48" fmla="*/ 121 w 226"/>
                <a:gd name="T49" fmla="*/ 188 h 241"/>
                <a:gd name="T50" fmla="*/ 151 w 226"/>
                <a:gd name="T51" fmla="*/ 183 h 241"/>
                <a:gd name="T52" fmla="*/ 177 w 226"/>
                <a:gd name="T53" fmla="*/ 164 h 241"/>
                <a:gd name="T54" fmla="*/ 215 w 226"/>
                <a:gd name="T55" fmla="*/ 198 h 241"/>
                <a:gd name="T56" fmla="*/ 175 w 226"/>
                <a:gd name="T57" fmla="*/ 229 h 241"/>
                <a:gd name="T58" fmla="*/ 120 w 226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6" h="241">
                  <a:moveTo>
                    <a:pt x="163" y="102"/>
                  </a:moveTo>
                  <a:cubicBezTo>
                    <a:pt x="161" y="87"/>
                    <a:pt x="155" y="76"/>
                    <a:pt x="147" y="66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0" y="53"/>
                    <a:pt x="89" y="57"/>
                    <a:pt x="81" y="66"/>
                  </a:cubicBezTo>
                  <a:cubicBezTo>
                    <a:pt x="72" y="75"/>
                    <a:pt x="67" y="87"/>
                    <a:pt x="64" y="102"/>
                  </a:cubicBezTo>
                  <a:lnTo>
                    <a:pt x="163" y="102"/>
                  </a:lnTo>
                  <a:close/>
                  <a:moveTo>
                    <a:pt x="120" y="241"/>
                  </a:moveTo>
                  <a:cubicBezTo>
                    <a:pt x="103" y="241"/>
                    <a:pt x="87" y="238"/>
                    <a:pt x="72" y="232"/>
                  </a:cubicBezTo>
                  <a:cubicBezTo>
                    <a:pt x="58" y="226"/>
                    <a:pt x="45" y="218"/>
                    <a:pt x="34" y="208"/>
                  </a:cubicBezTo>
                  <a:cubicBezTo>
                    <a:pt x="23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8" y="74"/>
                  </a:cubicBezTo>
                  <a:cubicBezTo>
                    <a:pt x="14" y="59"/>
                    <a:pt x="22" y="47"/>
                    <a:pt x="32" y="36"/>
                  </a:cubicBezTo>
                  <a:cubicBezTo>
                    <a:pt x="42" y="25"/>
                    <a:pt x="54" y="16"/>
                    <a:pt x="68" y="10"/>
                  </a:cubicBezTo>
                  <a:cubicBezTo>
                    <a:pt x="82" y="4"/>
                    <a:pt x="97" y="0"/>
                    <a:pt x="114" y="0"/>
                  </a:cubicBezTo>
                  <a:cubicBezTo>
                    <a:pt x="133" y="0"/>
                    <a:pt x="150" y="4"/>
                    <a:pt x="164" y="11"/>
                  </a:cubicBezTo>
                  <a:cubicBezTo>
                    <a:pt x="178" y="18"/>
                    <a:pt x="190" y="27"/>
                    <a:pt x="199" y="38"/>
                  </a:cubicBezTo>
                  <a:cubicBezTo>
                    <a:pt x="208" y="50"/>
                    <a:pt x="215" y="63"/>
                    <a:pt x="220" y="79"/>
                  </a:cubicBezTo>
                  <a:cubicBezTo>
                    <a:pt x="224" y="94"/>
                    <a:pt x="226" y="109"/>
                    <a:pt x="226" y="126"/>
                  </a:cubicBezTo>
                  <a:cubicBezTo>
                    <a:pt x="226" y="128"/>
                    <a:pt x="226" y="131"/>
                    <a:pt x="226" y="134"/>
                  </a:cubicBezTo>
                  <a:cubicBezTo>
                    <a:pt x="226" y="137"/>
                    <a:pt x="226" y="140"/>
                    <a:pt x="226" y="143"/>
                  </a:cubicBezTo>
                  <a:lnTo>
                    <a:pt x="65" y="143"/>
                  </a:lnTo>
                  <a:cubicBezTo>
                    <a:pt x="68" y="158"/>
                    <a:pt x="75" y="169"/>
                    <a:pt x="84" y="177"/>
                  </a:cubicBezTo>
                  <a:cubicBezTo>
                    <a:pt x="94" y="184"/>
                    <a:pt x="107" y="188"/>
                    <a:pt x="121" y="188"/>
                  </a:cubicBezTo>
                  <a:cubicBezTo>
                    <a:pt x="132" y="188"/>
                    <a:pt x="142" y="186"/>
                    <a:pt x="151" y="183"/>
                  </a:cubicBezTo>
                  <a:cubicBezTo>
                    <a:pt x="159" y="179"/>
                    <a:pt x="168" y="173"/>
                    <a:pt x="177" y="164"/>
                  </a:cubicBezTo>
                  <a:lnTo>
                    <a:pt x="215" y="198"/>
                  </a:lnTo>
                  <a:cubicBezTo>
                    <a:pt x="204" y="211"/>
                    <a:pt x="191" y="222"/>
                    <a:pt x="175" y="229"/>
                  </a:cubicBezTo>
                  <a:cubicBezTo>
                    <a:pt x="160" y="237"/>
                    <a:pt x="141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6" name="Freeform 18">
              <a:extLst>
                <a:ext uri="{FF2B5EF4-FFF2-40B4-BE49-F238E27FC236}">
                  <a16:creationId xmlns:a16="http://schemas.microsoft.com/office/drawing/2014/main" id="{85F75A83-EA34-BD39-F58B-25577C0E6D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" y="356"/>
              <a:ext cx="33" cy="38"/>
            </a:xfrm>
            <a:custGeom>
              <a:avLst/>
              <a:gdLst>
                <a:gd name="T0" fmla="*/ 134 w 261"/>
                <a:gd name="T1" fmla="*/ 146 h 302"/>
                <a:gd name="T2" fmla="*/ 171 w 261"/>
                <a:gd name="T3" fmla="*/ 135 h 302"/>
                <a:gd name="T4" fmla="*/ 185 w 261"/>
                <a:gd name="T5" fmla="*/ 104 h 302"/>
                <a:gd name="T6" fmla="*/ 185 w 261"/>
                <a:gd name="T7" fmla="*/ 103 h 302"/>
                <a:gd name="T8" fmla="*/ 171 w 261"/>
                <a:gd name="T9" fmla="*/ 71 h 302"/>
                <a:gd name="T10" fmla="*/ 132 w 261"/>
                <a:gd name="T11" fmla="*/ 60 h 302"/>
                <a:gd name="T12" fmla="*/ 67 w 261"/>
                <a:gd name="T13" fmla="*/ 60 h 302"/>
                <a:gd name="T14" fmla="*/ 67 w 261"/>
                <a:gd name="T15" fmla="*/ 146 h 302"/>
                <a:gd name="T16" fmla="*/ 134 w 261"/>
                <a:gd name="T17" fmla="*/ 146 h 302"/>
                <a:gd name="T18" fmla="*/ 0 w 261"/>
                <a:gd name="T19" fmla="*/ 0 h 302"/>
                <a:gd name="T20" fmla="*/ 138 w 261"/>
                <a:gd name="T21" fmla="*/ 0 h 302"/>
                <a:gd name="T22" fmla="*/ 226 w 261"/>
                <a:gd name="T23" fmla="*/ 31 h 302"/>
                <a:gd name="T24" fmla="*/ 252 w 261"/>
                <a:gd name="T25" fmla="*/ 100 h 302"/>
                <a:gd name="T26" fmla="*/ 252 w 261"/>
                <a:gd name="T27" fmla="*/ 100 h 302"/>
                <a:gd name="T28" fmla="*/ 234 w 261"/>
                <a:gd name="T29" fmla="*/ 160 h 302"/>
                <a:gd name="T30" fmla="*/ 187 w 261"/>
                <a:gd name="T31" fmla="*/ 194 h 302"/>
                <a:gd name="T32" fmla="*/ 261 w 261"/>
                <a:gd name="T33" fmla="*/ 302 h 302"/>
                <a:gd name="T34" fmla="*/ 183 w 261"/>
                <a:gd name="T35" fmla="*/ 302 h 302"/>
                <a:gd name="T36" fmla="*/ 119 w 261"/>
                <a:gd name="T37" fmla="*/ 205 h 302"/>
                <a:gd name="T38" fmla="*/ 118 w 261"/>
                <a:gd name="T39" fmla="*/ 205 h 302"/>
                <a:gd name="T40" fmla="*/ 67 w 261"/>
                <a:gd name="T41" fmla="*/ 205 h 302"/>
                <a:gd name="T42" fmla="*/ 67 w 261"/>
                <a:gd name="T43" fmla="*/ 302 h 302"/>
                <a:gd name="T44" fmla="*/ 0 w 261"/>
                <a:gd name="T45" fmla="*/ 302 h 302"/>
                <a:gd name="T46" fmla="*/ 0 w 261"/>
                <a:gd name="T4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1" h="302">
                  <a:moveTo>
                    <a:pt x="134" y="146"/>
                  </a:moveTo>
                  <a:cubicBezTo>
                    <a:pt x="150" y="146"/>
                    <a:pt x="163" y="143"/>
                    <a:pt x="171" y="135"/>
                  </a:cubicBezTo>
                  <a:cubicBezTo>
                    <a:pt x="180" y="127"/>
                    <a:pt x="185" y="117"/>
                    <a:pt x="185" y="104"/>
                  </a:cubicBezTo>
                  <a:lnTo>
                    <a:pt x="185" y="103"/>
                  </a:lnTo>
                  <a:cubicBezTo>
                    <a:pt x="185" y="89"/>
                    <a:pt x="180" y="78"/>
                    <a:pt x="171" y="71"/>
                  </a:cubicBezTo>
                  <a:cubicBezTo>
                    <a:pt x="162" y="63"/>
                    <a:pt x="149" y="60"/>
                    <a:pt x="132" y="60"/>
                  </a:cubicBezTo>
                  <a:lnTo>
                    <a:pt x="67" y="60"/>
                  </a:lnTo>
                  <a:lnTo>
                    <a:pt x="67" y="146"/>
                  </a:lnTo>
                  <a:lnTo>
                    <a:pt x="134" y="146"/>
                  </a:lnTo>
                  <a:close/>
                  <a:moveTo>
                    <a:pt x="0" y="0"/>
                  </a:moveTo>
                  <a:lnTo>
                    <a:pt x="138" y="0"/>
                  </a:lnTo>
                  <a:cubicBezTo>
                    <a:pt x="176" y="0"/>
                    <a:pt x="206" y="10"/>
                    <a:pt x="226" y="31"/>
                  </a:cubicBezTo>
                  <a:cubicBezTo>
                    <a:pt x="243" y="48"/>
                    <a:pt x="252" y="71"/>
                    <a:pt x="252" y="100"/>
                  </a:cubicBezTo>
                  <a:lnTo>
                    <a:pt x="252" y="100"/>
                  </a:lnTo>
                  <a:cubicBezTo>
                    <a:pt x="252" y="125"/>
                    <a:pt x="246" y="145"/>
                    <a:pt x="234" y="160"/>
                  </a:cubicBezTo>
                  <a:cubicBezTo>
                    <a:pt x="222" y="175"/>
                    <a:pt x="206" y="187"/>
                    <a:pt x="187" y="194"/>
                  </a:cubicBezTo>
                  <a:lnTo>
                    <a:pt x="261" y="302"/>
                  </a:lnTo>
                  <a:lnTo>
                    <a:pt x="183" y="302"/>
                  </a:lnTo>
                  <a:lnTo>
                    <a:pt x="119" y="205"/>
                  </a:lnTo>
                  <a:lnTo>
                    <a:pt x="118" y="205"/>
                  </a:lnTo>
                  <a:lnTo>
                    <a:pt x="67" y="205"/>
                  </a:lnTo>
                  <a:lnTo>
                    <a:pt x="67" y="302"/>
                  </a:lnTo>
                  <a:lnTo>
                    <a:pt x="0" y="302"/>
                  </a:lnTo>
                  <a:lnTo>
                    <a:pt x="0" y="0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" name="Freeform 19">
              <a:extLst>
                <a:ext uri="{FF2B5EF4-FFF2-40B4-BE49-F238E27FC236}">
                  <a16:creationId xmlns:a16="http://schemas.microsoft.com/office/drawing/2014/main" id="{4999608D-E44C-B539-98BA-95A545053C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9" y="364"/>
              <a:ext cx="28" cy="31"/>
            </a:xfrm>
            <a:custGeom>
              <a:avLst/>
              <a:gdLst>
                <a:gd name="T0" fmla="*/ 162 w 226"/>
                <a:gd name="T1" fmla="*/ 102 h 241"/>
                <a:gd name="T2" fmla="*/ 147 w 226"/>
                <a:gd name="T3" fmla="*/ 66 h 241"/>
                <a:gd name="T4" fmla="*/ 114 w 226"/>
                <a:gd name="T5" fmla="*/ 53 h 241"/>
                <a:gd name="T6" fmla="*/ 80 w 226"/>
                <a:gd name="T7" fmla="*/ 66 h 241"/>
                <a:gd name="T8" fmla="*/ 64 w 226"/>
                <a:gd name="T9" fmla="*/ 102 h 241"/>
                <a:gd name="T10" fmla="*/ 162 w 226"/>
                <a:gd name="T11" fmla="*/ 102 h 241"/>
                <a:gd name="T12" fmla="*/ 120 w 226"/>
                <a:gd name="T13" fmla="*/ 241 h 241"/>
                <a:gd name="T14" fmla="*/ 72 w 226"/>
                <a:gd name="T15" fmla="*/ 232 h 241"/>
                <a:gd name="T16" fmla="*/ 34 w 226"/>
                <a:gd name="T17" fmla="*/ 208 h 241"/>
                <a:gd name="T18" fmla="*/ 9 w 226"/>
                <a:gd name="T19" fmla="*/ 170 h 241"/>
                <a:gd name="T20" fmla="*/ 0 w 226"/>
                <a:gd name="T21" fmla="*/ 121 h 241"/>
                <a:gd name="T22" fmla="*/ 0 w 226"/>
                <a:gd name="T23" fmla="*/ 121 h 241"/>
                <a:gd name="T24" fmla="*/ 8 w 226"/>
                <a:gd name="T25" fmla="*/ 74 h 241"/>
                <a:gd name="T26" fmla="*/ 31 w 226"/>
                <a:gd name="T27" fmla="*/ 36 h 241"/>
                <a:gd name="T28" fmla="*/ 67 w 226"/>
                <a:gd name="T29" fmla="*/ 10 h 241"/>
                <a:gd name="T30" fmla="*/ 114 w 226"/>
                <a:gd name="T31" fmla="*/ 0 h 241"/>
                <a:gd name="T32" fmla="*/ 164 w 226"/>
                <a:gd name="T33" fmla="*/ 11 h 241"/>
                <a:gd name="T34" fmla="*/ 199 w 226"/>
                <a:gd name="T35" fmla="*/ 38 h 241"/>
                <a:gd name="T36" fmla="*/ 220 w 226"/>
                <a:gd name="T37" fmla="*/ 79 h 241"/>
                <a:gd name="T38" fmla="*/ 226 w 226"/>
                <a:gd name="T39" fmla="*/ 126 h 241"/>
                <a:gd name="T40" fmla="*/ 226 w 226"/>
                <a:gd name="T41" fmla="*/ 134 h 241"/>
                <a:gd name="T42" fmla="*/ 225 w 226"/>
                <a:gd name="T43" fmla="*/ 143 h 241"/>
                <a:gd name="T44" fmla="*/ 65 w 226"/>
                <a:gd name="T45" fmla="*/ 143 h 241"/>
                <a:gd name="T46" fmla="*/ 84 w 226"/>
                <a:gd name="T47" fmla="*/ 177 h 241"/>
                <a:gd name="T48" fmla="*/ 121 w 226"/>
                <a:gd name="T49" fmla="*/ 188 h 241"/>
                <a:gd name="T50" fmla="*/ 150 w 226"/>
                <a:gd name="T51" fmla="*/ 183 h 241"/>
                <a:gd name="T52" fmla="*/ 177 w 226"/>
                <a:gd name="T53" fmla="*/ 164 h 241"/>
                <a:gd name="T54" fmla="*/ 215 w 226"/>
                <a:gd name="T55" fmla="*/ 198 h 241"/>
                <a:gd name="T56" fmla="*/ 175 w 226"/>
                <a:gd name="T57" fmla="*/ 229 h 241"/>
                <a:gd name="T58" fmla="*/ 120 w 226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6" h="241">
                  <a:moveTo>
                    <a:pt x="162" y="102"/>
                  </a:moveTo>
                  <a:cubicBezTo>
                    <a:pt x="160" y="87"/>
                    <a:pt x="155" y="76"/>
                    <a:pt x="147" y="66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0" y="53"/>
                    <a:pt x="89" y="57"/>
                    <a:pt x="80" y="66"/>
                  </a:cubicBezTo>
                  <a:cubicBezTo>
                    <a:pt x="72" y="75"/>
                    <a:pt x="66" y="87"/>
                    <a:pt x="64" y="102"/>
                  </a:cubicBezTo>
                  <a:lnTo>
                    <a:pt x="162" y="102"/>
                  </a:lnTo>
                  <a:close/>
                  <a:moveTo>
                    <a:pt x="120" y="241"/>
                  </a:moveTo>
                  <a:cubicBezTo>
                    <a:pt x="103" y="241"/>
                    <a:pt x="87" y="238"/>
                    <a:pt x="72" y="232"/>
                  </a:cubicBezTo>
                  <a:cubicBezTo>
                    <a:pt x="57" y="226"/>
                    <a:pt x="45" y="218"/>
                    <a:pt x="34" y="208"/>
                  </a:cubicBezTo>
                  <a:cubicBezTo>
                    <a:pt x="23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2" y="89"/>
                    <a:pt x="8" y="74"/>
                  </a:cubicBezTo>
                  <a:cubicBezTo>
                    <a:pt x="14" y="59"/>
                    <a:pt x="21" y="47"/>
                    <a:pt x="31" y="36"/>
                  </a:cubicBezTo>
                  <a:cubicBezTo>
                    <a:pt x="42" y="25"/>
                    <a:pt x="54" y="16"/>
                    <a:pt x="67" y="10"/>
                  </a:cubicBezTo>
                  <a:cubicBezTo>
                    <a:pt x="81" y="4"/>
                    <a:pt x="97" y="0"/>
                    <a:pt x="114" y="0"/>
                  </a:cubicBezTo>
                  <a:cubicBezTo>
                    <a:pt x="133" y="0"/>
                    <a:pt x="150" y="4"/>
                    <a:pt x="164" y="11"/>
                  </a:cubicBezTo>
                  <a:cubicBezTo>
                    <a:pt x="178" y="18"/>
                    <a:pt x="190" y="27"/>
                    <a:pt x="199" y="38"/>
                  </a:cubicBezTo>
                  <a:cubicBezTo>
                    <a:pt x="208" y="50"/>
                    <a:pt x="215" y="63"/>
                    <a:pt x="220" y="79"/>
                  </a:cubicBezTo>
                  <a:cubicBezTo>
                    <a:pt x="224" y="94"/>
                    <a:pt x="226" y="109"/>
                    <a:pt x="226" y="126"/>
                  </a:cubicBezTo>
                  <a:cubicBezTo>
                    <a:pt x="226" y="128"/>
                    <a:pt x="226" y="131"/>
                    <a:pt x="226" y="134"/>
                  </a:cubicBezTo>
                  <a:cubicBezTo>
                    <a:pt x="226" y="137"/>
                    <a:pt x="226" y="140"/>
                    <a:pt x="225" y="143"/>
                  </a:cubicBezTo>
                  <a:lnTo>
                    <a:pt x="65" y="143"/>
                  </a:lnTo>
                  <a:cubicBezTo>
                    <a:pt x="68" y="158"/>
                    <a:pt x="74" y="169"/>
                    <a:pt x="84" y="177"/>
                  </a:cubicBezTo>
                  <a:cubicBezTo>
                    <a:pt x="94" y="184"/>
                    <a:pt x="106" y="188"/>
                    <a:pt x="121" y="188"/>
                  </a:cubicBezTo>
                  <a:cubicBezTo>
                    <a:pt x="132" y="188"/>
                    <a:pt x="142" y="186"/>
                    <a:pt x="150" y="183"/>
                  </a:cubicBezTo>
                  <a:cubicBezTo>
                    <a:pt x="159" y="179"/>
                    <a:pt x="168" y="173"/>
                    <a:pt x="177" y="164"/>
                  </a:cubicBezTo>
                  <a:lnTo>
                    <a:pt x="215" y="198"/>
                  </a:lnTo>
                  <a:cubicBezTo>
                    <a:pt x="204" y="211"/>
                    <a:pt x="190" y="222"/>
                    <a:pt x="175" y="229"/>
                  </a:cubicBezTo>
                  <a:cubicBezTo>
                    <a:pt x="159" y="237"/>
                    <a:pt x="141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8" name="Freeform 20">
              <a:extLst>
                <a:ext uri="{FF2B5EF4-FFF2-40B4-BE49-F238E27FC236}">
                  <a16:creationId xmlns:a16="http://schemas.microsoft.com/office/drawing/2014/main" id="{038D5A33-034E-1A46-88BD-1EBADD1D2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1" y="364"/>
              <a:ext cx="27" cy="31"/>
            </a:xfrm>
            <a:custGeom>
              <a:avLst/>
              <a:gdLst>
                <a:gd name="T0" fmla="*/ 120 w 214"/>
                <a:gd name="T1" fmla="*/ 241 h 241"/>
                <a:gd name="T2" fmla="*/ 72 w 214"/>
                <a:gd name="T3" fmla="*/ 231 h 241"/>
                <a:gd name="T4" fmla="*/ 34 w 214"/>
                <a:gd name="T5" fmla="*/ 206 h 241"/>
                <a:gd name="T6" fmla="*/ 9 w 214"/>
                <a:gd name="T7" fmla="*/ 168 h 241"/>
                <a:gd name="T8" fmla="*/ 0 w 214"/>
                <a:gd name="T9" fmla="*/ 121 h 241"/>
                <a:gd name="T10" fmla="*/ 0 w 214"/>
                <a:gd name="T11" fmla="*/ 121 h 241"/>
                <a:gd name="T12" fmla="*/ 9 w 214"/>
                <a:gd name="T13" fmla="*/ 74 h 241"/>
                <a:gd name="T14" fmla="*/ 34 w 214"/>
                <a:gd name="T15" fmla="*/ 36 h 241"/>
                <a:gd name="T16" fmla="*/ 72 w 214"/>
                <a:gd name="T17" fmla="*/ 10 h 241"/>
                <a:gd name="T18" fmla="*/ 121 w 214"/>
                <a:gd name="T19" fmla="*/ 0 h 241"/>
                <a:gd name="T20" fmla="*/ 175 w 214"/>
                <a:gd name="T21" fmla="*/ 11 h 241"/>
                <a:gd name="T22" fmla="*/ 213 w 214"/>
                <a:gd name="T23" fmla="*/ 39 h 241"/>
                <a:gd name="T24" fmla="*/ 173 w 214"/>
                <a:gd name="T25" fmla="*/ 82 h 241"/>
                <a:gd name="T26" fmla="*/ 150 w 214"/>
                <a:gd name="T27" fmla="*/ 64 h 241"/>
                <a:gd name="T28" fmla="*/ 120 w 214"/>
                <a:gd name="T29" fmla="*/ 57 h 241"/>
                <a:gd name="T30" fmla="*/ 98 w 214"/>
                <a:gd name="T31" fmla="*/ 62 h 241"/>
                <a:gd name="T32" fmla="*/ 80 w 214"/>
                <a:gd name="T33" fmla="*/ 75 h 241"/>
                <a:gd name="T34" fmla="*/ 68 w 214"/>
                <a:gd name="T35" fmla="*/ 95 h 241"/>
                <a:gd name="T36" fmla="*/ 64 w 214"/>
                <a:gd name="T37" fmla="*/ 120 h 241"/>
                <a:gd name="T38" fmla="*/ 64 w 214"/>
                <a:gd name="T39" fmla="*/ 121 h 241"/>
                <a:gd name="T40" fmla="*/ 68 w 214"/>
                <a:gd name="T41" fmla="*/ 146 h 241"/>
                <a:gd name="T42" fmla="*/ 80 w 214"/>
                <a:gd name="T43" fmla="*/ 166 h 241"/>
                <a:gd name="T44" fmla="*/ 99 w 214"/>
                <a:gd name="T45" fmla="*/ 179 h 241"/>
                <a:gd name="T46" fmla="*/ 123 w 214"/>
                <a:gd name="T47" fmla="*/ 184 h 241"/>
                <a:gd name="T48" fmla="*/ 152 w 214"/>
                <a:gd name="T49" fmla="*/ 178 h 241"/>
                <a:gd name="T50" fmla="*/ 176 w 214"/>
                <a:gd name="T51" fmla="*/ 160 h 241"/>
                <a:gd name="T52" fmla="*/ 214 w 214"/>
                <a:gd name="T53" fmla="*/ 199 h 241"/>
                <a:gd name="T54" fmla="*/ 176 w 214"/>
                <a:gd name="T55" fmla="*/ 229 h 241"/>
                <a:gd name="T56" fmla="*/ 120 w 214"/>
                <a:gd name="T5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4" h="241">
                  <a:moveTo>
                    <a:pt x="120" y="241"/>
                  </a:moveTo>
                  <a:cubicBezTo>
                    <a:pt x="103" y="241"/>
                    <a:pt x="87" y="238"/>
                    <a:pt x="72" y="231"/>
                  </a:cubicBezTo>
                  <a:cubicBezTo>
                    <a:pt x="57" y="225"/>
                    <a:pt x="44" y="216"/>
                    <a:pt x="34" y="206"/>
                  </a:cubicBezTo>
                  <a:cubicBezTo>
                    <a:pt x="23" y="195"/>
                    <a:pt x="15" y="182"/>
                    <a:pt x="9" y="168"/>
                  </a:cubicBezTo>
                  <a:cubicBezTo>
                    <a:pt x="3" y="153"/>
                    <a:pt x="0" y="138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9" y="74"/>
                  </a:cubicBezTo>
                  <a:cubicBezTo>
                    <a:pt x="15" y="59"/>
                    <a:pt x="23" y="47"/>
                    <a:pt x="34" y="36"/>
                  </a:cubicBezTo>
                  <a:cubicBezTo>
                    <a:pt x="44" y="25"/>
                    <a:pt x="57" y="16"/>
                    <a:pt x="72" y="10"/>
                  </a:cubicBezTo>
                  <a:cubicBezTo>
                    <a:pt x="87" y="4"/>
                    <a:pt x="103" y="0"/>
                    <a:pt x="121" y="0"/>
                  </a:cubicBezTo>
                  <a:cubicBezTo>
                    <a:pt x="143" y="0"/>
                    <a:pt x="161" y="4"/>
                    <a:pt x="175" y="11"/>
                  </a:cubicBezTo>
                  <a:cubicBezTo>
                    <a:pt x="189" y="18"/>
                    <a:pt x="202" y="27"/>
                    <a:pt x="213" y="39"/>
                  </a:cubicBezTo>
                  <a:lnTo>
                    <a:pt x="173" y="82"/>
                  </a:lnTo>
                  <a:cubicBezTo>
                    <a:pt x="165" y="74"/>
                    <a:pt x="158" y="68"/>
                    <a:pt x="150" y="64"/>
                  </a:cubicBezTo>
                  <a:cubicBezTo>
                    <a:pt x="142" y="59"/>
                    <a:pt x="132" y="57"/>
                    <a:pt x="120" y="57"/>
                  </a:cubicBezTo>
                  <a:cubicBezTo>
                    <a:pt x="112" y="57"/>
                    <a:pt x="104" y="58"/>
                    <a:pt x="98" y="62"/>
                  </a:cubicBezTo>
                  <a:cubicBezTo>
                    <a:pt x="91" y="65"/>
                    <a:pt x="85" y="70"/>
                    <a:pt x="80" y="75"/>
                  </a:cubicBezTo>
                  <a:cubicBezTo>
                    <a:pt x="75" y="81"/>
                    <a:pt x="71" y="88"/>
                    <a:pt x="68" y="95"/>
                  </a:cubicBezTo>
                  <a:cubicBezTo>
                    <a:pt x="66" y="103"/>
                    <a:pt x="64" y="111"/>
                    <a:pt x="64" y="120"/>
                  </a:cubicBezTo>
                  <a:lnTo>
                    <a:pt x="64" y="121"/>
                  </a:lnTo>
                  <a:cubicBezTo>
                    <a:pt x="64" y="129"/>
                    <a:pt x="66" y="138"/>
                    <a:pt x="68" y="146"/>
                  </a:cubicBezTo>
                  <a:cubicBezTo>
                    <a:pt x="71" y="153"/>
                    <a:pt x="75" y="160"/>
                    <a:pt x="80" y="166"/>
                  </a:cubicBezTo>
                  <a:cubicBezTo>
                    <a:pt x="85" y="172"/>
                    <a:pt x="92" y="176"/>
                    <a:pt x="99" y="179"/>
                  </a:cubicBezTo>
                  <a:cubicBezTo>
                    <a:pt x="106" y="183"/>
                    <a:pt x="114" y="184"/>
                    <a:pt x="123" y="184"/>
                  </a:cubicBezTo>
                  <a:cubicBezTo>
                    <a:pt x="134" y="184"/>
                    <a:pt x="143" y="182"/>
                    <a:pt x="152" y="178"/>
                  </a:cubicBezTo>
                  <a:cubicBezTo>
                    <a:pt x="160" y="173"/>
                    <a:pt x="168" y="167"/>
                    <a:pt x="176" y="160"/>
                  </a:cubicBezTo>
                  <a:lnTo>
                    <a:pt x="214" y="199"/>
                  </a:lnTo>
                  <a:cubicBezTo>
                    <a:pt x="203" y="211"/>
                    <a:pt x="190" y="221"/>
                    <a:pt x="176" y="229"/>
                  </a:cubicBezTo>
                  <a:cubicBezTo>
                    <a:pt x="162" y="237"/>
                    <a:pt x="143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9" name="Freeform 21">
              <a:extLst>
                <a:ext uri="{FF2B5EF4-FFF2-40B4-BE49-F238E27FC236}">
                  <a16:creationId xmlns:a16="http://schemas.microsoft.com/office/drawing/2014/main" id="{0A65851E-1B0B-06FE-EF87-C8A3C673B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3" y="365"/>
              <a:ext cx="26" cy="30"/>
            </a:xfrm>
            <a:custGeom>
              <a:avLst/>
              <a:gdLst>
                <a:gd name="T0" fmla="*/ 79 w 212"/>
                <a:gd name="T1" fmla="*/ 235 h 235"/>
                <a:gd name="T2" fmla="*/ 21 w 212"/>
                <a:gd name="T3" fmla="*/ 212 h 235"/>
                <a:gd name="T4" fmla="*/ 0 w 212"/>
                <a:gd name="T5" fmla="*/ 149 h 235"/>
                <a:gd name="T6" fmla="*/ 0 w 212"/>
                <a:gd name="T7" fmla="*/ 0 h 235"/>
                <a:gd name="T8" fmla="*/ 66 w 212"/>
                <a:gd name="T9" fmla="*/ 0 h 235"/>
                <a:gd name="T10" fmla="*/ 66 w 212"/>
                <a:gd name="T11" fmla="*/ 128 h 235"/>
                <a:gd name="T12" fmla="*/ 76 w 212"/>
                <a:gd name="T13" fmla="*/ 163 h 235"/>
                <a:gd name="T14" fmla="*/ 105 w 212"/>
                <a:gd name="T15" fmla="*/ 175 h 235"/>
                <a:gd name="T16" fmla="*/ 135 w 212"/>
                <a:gd name="T17" fmla="*/ 163 h 235"/>
                <a:gd name="T18" fmla="*/ 146 w 212"/>
                <a:gd name="T19" fmla="*/ 128 h 235"/>
                <a:gd name="T20" fmla="*/ 146 w 212"/>
                <a:gd name="T21" fmla="*/ 0 h 235"/>
                <a:gd name="T22" fmla="*/ 212 w 212"/>
                <a:gd name="T23" fmla="*/ 0 h 235"/>
                <a:gd name="T24" fmla="*/ 212 w 212"/>
                <a:gd name="T25" fmla="*/ 231 h 235"/>
                <a:gd name="T26" fmla="*/ 146 w 212"/>
                <a:gd name="T27" fmla="*/ 231 h 235"/>
                <a:gd name="T28" fmla="*/ 146 w 212"/>
                <a:gd name="T29" fmla="*/ 198 h 235"/>
                <a:gd name="T30" fmla="*/ 134 w 212"/>
                <a:gd name="T31" fmla="*/ 212 h 235"/>
                <a:gd name="T32" fmla="*/ 119 w 212"/>
                <a:gd name="T33" fmla="*/ 224 h 235"/>
                <a:gd name="T34" fmla="*/ 101 w 212"/>
                <a:gd name="T35" fmla="*/ 232 h 235"/>
                <a:gd name="T36" fmla="*/ 79 w 212"/>
                <a:gd name="T37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2" h="235">
                  <a:moveTo>
                    <a:pt x="79" y="235"/>
                  </a:moveTo>
                  <a:cubicBezTo>
                    <a:pt x="54" y="235"/>
                    <a:pt x="34" y="227"/>
                    <a:pt x="21" y="212"/>
                  </a:cubicBezTo>
                  <a:cubicBezTo>
                    <a:pt x="7" y="197"/>
                    <a:pt x="0" y="176"/>
                    <a:pt x="0" y="149"/>
                  </a:cubicBezTo>
                  <a:lnTo>
                    <a:pt x="0" y="0"/>
                  </a:lnTo>
                  <a:lnTo>
                    <a:pt x="66" y="0"/>
                  </a:lnTo>
                  <a:lnTo>
                    <a:pt x="66" y="128"/>
                  </a:lnTo>
                  <a:cubicBezTo>
                    <a:pt x="66" y="144"/>
                    <a:pt x="69" y="155"/>
                    <a:pt x="76" y="163"/>
                  </a:cubicBezTo>
                  <a:cubicBezTo>
                    <a:pt x="83" y="171"/>
                    <a:pt x="93" y="175"/>
                    <a:pt x="105" y="175"/>
                  </a:cubicBezTo>
                  <a:cubicBezTo>
                    <a:pt x="118" y="175"/>
                    <a:pt x="128" y="171"/>
                    <a:pt x="135" y="163"/>
                  </a:cubicBezTo>
                  <a:cubicBezTo>
                    <a:pt x="143" y="155"/>
                    <a:pt x="146" y="144"/>
                    <a:pt x="146" y="128"/>
                  </a:cubicBezTo>
                  <a:lnTo>
                    <a:pt x="146" y="0"/>
                  </a:lnTo>
                  <a:lnTo>
                    <a:pt x="212" y="0"/>
                  </a:lnTo>
                  <a:lnTo>
                    <a:pt x="212" y="231"/>
                  </a:lnTo>
                  <a:lnTo>
                    <a:pt x="146" y="231"/>
                  </a:lnTo>
                  <a:lnTo>
                    <a:pt x="146" y="198"/>
                  </a:lnTo>
                  <a:cubicBezTo>
                    <a:pt x="142" y="202"/>
                    <a:pt x="138" y="207"/>
                    <a:pt x="134" y="212"/>
                  </a:cubicBezTo>
                  <a:cubicBezTo>
                    <a:pt x="129" y="216"/>
                    <a:pt x="125" y="220"/>
                    <a:pt x="119" y="224"/>
                  </a:cubicBezTo>
                  <a:cubicBezTo>
                    <a:pt x="114" y="227"/>
                    <a:pt x="108" y="230"/>
                    <a:pt x="101" y="232"/>
                  </a:cubicBezTo>
                  <a:cubicBezTo>
                    <a:pt x="94" y="234"/>
                    <a:pt x="87" y="235"/>
                    <a:pt x="79" y="235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0" name="Freeform 22">
              <a:extLst>
                <a:ext uri="{FF2B5EF4-FFF2-40B4-BE49-F238E27FC236}">
                  <a16:creationId xmlns:a16="http://schemas.microsoft.com/office/drawing/2014/main" id="{ADCF37E6-711F-1963-6787-68657AB1C1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6" y="364"/>
              <a:ext cx="30" cy="39"/>
            </a:xfrm>
            <a:custGeom>
              <a:avLst/>
              <a:gdLst>
                <a:gd name="T0" fmla="*/ 121 w 243"/>
                <a:gd name="T1" fmla="*/ 184 h 305"/>
                <a:gd name="T2" fmla="*/ 143 w 243"/>
                <a:gd name="T3" fmla="*/ 180 h 305"/>
                <a:gd name="T4" fmla="*/ 161 w 243"/>
                <a:gd name="T5" fmla="*/ 167 h 305"/>
                <a:gd name="T6" fmla="*/ 173 w 243"/>
                <a:gd name="T7" fmla="*/ 147 h 305"/>
                <a:gd name="T8" fmla="*/ 177 w 243"/>
                <a:gd name="T9" fmla="*/ 121 h 305"/>
                <a:gd name="T10" fmla="*/ 177 w 243"/>
                <a:gd name="T11" fmla="*/ 120 h 305"/>
                <a:gd name="T12" fmla="*/ 173 w 243"/>
                <a:gd name="T13" fmla="*/ 94 h 305"/>
                <a:gd name="T14" fmla="*/ 161 w 243"/>
                <a:gd name="T15" fmla="*/ 73 h 305"/>
                <a:gd name="T16" fmla="*/ 143 w 243"/>
                <a:gd name="T17" fmla="*/ 60 h 305"/>
                <a:gd name="T18" fmla="*/ 121 w 243"/>
                <a:gd name="T19" fmla="*/ 56 h 305"/>
                <a:gd name="T20" fmla="*/ 99 w 243"/>
                <a:gd name="T21" fmla="*/ 60 h 305"/>
                <a:gd name="T22" fmla="*/ 81 w 243"/>
                <a:gd name="T23" fmla="*/ 73 h 305"/>
                <a:gd name="T24" fmla="*/ 69 w 243"/>
                <a:gd name="T25" fmla="*/ 94 h 305"/>
                <a:gd name="T26" fmla="*/ 65 w 243"/>
                <a:gd name="T27" fmla="*/ 120 h 305"/>
                <a:gd name="T28" fmla="*/ 65 w 243"/>
                <a:gd name="T29" fmla="*/ 121 h 305"/>
                <a:gd name="T30" fmla="*/ 69 w 243"/>
                <a:gd name="T31" fmla="*/ 147 h 305"/>
                <a:gd name="T32" fmla="*/ 81 w 243"/>
                <a:gd name="T33" fmla="*/ 167 h 305"/>
                <a:gd name="T34" fmla="*/ 99 w 243"/>
                <a:gd name="T35" fmla="*/ 180 h 305"/>
                <a:gd name="T36" fmla="*/ 121 w 243"/>
                <a:gd name="T37" fmla="*/ 184 h 305"/>
                <a:gd name="T38" fmla="*/ 0 w 243"/>
                <a:gd name="T39" fmla="*/ 5 h 305"/>
                <a:gd name="T40" fmla="*/ 66 w 243"/>
                <a:gd name="T41" fmla="*/ 5 h 305"/>
                <a:gd name="T42" fmla="*/ 66 w 243"/>
                <a:gd name="T43" fmla="*/ 38 h 305"/>
                <a:gd name="T44" fmla="*/ 95 w 243"/>
                <a:gd name="T45" fmla="*/ 11 h 305"/>
                <a:gd name="T46" fmla="*/ 138 w 243"/>
                <a:gd name="T47" fmla="*/ 0 h 305"/>
                <a:gd name="T48" fmla="*/ 177 w 243"/>
                <a:gd name="T49" fmla="*/ 8 h 305"/>
                <a:gd name="T50" fmla="*/ 210 w 243"/>
                <a:gd name="T51" fmla="*/ 31 h 305"/>
                <a:gd name="T52" fmla="*/ 234 w 243"/>
                <a:gd name="T53" fmla="*/ 69 h 305"/>
                <a:gd name="T54" fmla="*/ 243 w 243"/>
                <a:gd name="T55" fmla="*/ 120 h 305"/>
                <a:gd name="T56" fmla="*/ 243 w 243"/>
                <a:gd name="T57" fmla="*/ 121 h 305"/>
                <a:gd name="T58" fmla="*/ 234 w 243"/>
                <a:gd name="T59" fmla="*/ 172 h 305"/>
                <a:gd name="T60" fmla="*/ 211 w 243"/>
                <a:gd name="T61" fmla="*/ 209 h 305"/>
                <a:gd name="T62" fmla="*/ 177 w 243"/>
                <a:gd name="T63" fmla="*/ 232 h 305"/>
                <a:gd name="T64" fmla="*/ 138 w 243"/>
                <a:gd name="T65" fmla="*/ 240 h 305"/>
                <a:gd name="T66" fmla="*/ 94 w 243"/>
                <a:gd name="T67" fmla="*/ 230 h 305"/>
                <a:gd name="T68" fmla="*/ 66 w 243"/>
                <a:gd name="T69" fmla="*/ 205 h 305"/>
                <a:gd name="T70" fmla="*/ 66 w 243"/>
                <a:gd name="T71" fmla="*/ 305 h 305"/>
                <a:gd name="T72" fmla="*/ 0 w 243"/>
                <a:gd name="T73" fmla="*/ 305 h 305"/>
                <a:gd name="T74" fmla="*/ 0 w 243"/>
                <a:gd name="T75" fmla="*/ 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3" h="305">
                  <a:moveTo>
                    <a:pt x="121" y="184"/>
                  </a:moveTo>
                  <a:cubicBezTo>
                    <a:pt x="129" y="184"/>
                    <a:pt x="136" y="183"/>
                    <a:pt x="143" y="180"/>
                  </a:cubicBezTo>
                  <a:cubicBezTo>
                    <a:pt x="149" y="177"/>
                    <a:pt x="155" y="172"/>
                    <a:pt x="161" y="167"/>
                  </a:cubicBezTo>
                  <a:cubicBezTo>
                    <a:pt x="166" y="161"/>
                    <a:pt x="170" y="155"/>
                    <a:pt x="173" y="147"/>
                  </a:cubicBezTo>
                  <a:cubicBezTo>
                    <a:pt x="176" y="139"/>
                    <a:pt x="177" y="130"/>
                    <a:pt x="177" y="121"/>
                  </a:cubicBezTo>
                  <a:lnTo>
                    <a:pt x="177" y="120"/>
                  </a:lnTo>
                  <a:cubicBezTo>
                    <a:pt x="177" y="110"/>
                    <a:pt x="176" y="102"/>
                    <a:pt x="173" y="94"/>
                  </a:cubicBezTo>
                  <a:cubicBezTo>
                    <a:pt x="170" y="86"/>
                    <a:pt x="166" y="79"/>
                    <a:pt x="161" y="73"/>
                  </a:cubicBezTo>
                  <a:cubicBezTo>
                    <a:pt x="155" y="68"/>
                    <a:pt x="149" y="63"/>
                    <a:pt x="143" y="60"/>
                  </a:cubicBezTo>
                  <a:cubicBezTo>
                    <a:pt x="136" y="57"/>
                    <a:pt x="129" y="56"/>
                    <a:pt x="121" y="56"/>
                  </a:cubicBezTo>
                  <a:cubicBezTo>
                    <a:pt x="113" y="56"/>
                    <a:pt x="106" y="57"/>
                    <a:pt x="99" y="60"/>
                  </a:cubicBezTo>
                  <a:cubicBezTo>
                    <a:pt x="92" y="63"/>
                    <a:pt x="86" y="68"/>
                    <a:pt x="81" y="73"/>
                  </a:cubicBezTo>
                  <a:cubicBezTo>
                    <a:pt x="76" y="79"/>
                    <a:pt x="72" y="86"/>
                    <a:pt x="69" y="94"/>
                  </a:cubicBezTo>
                  <a:cubicBezTo>
                    <a:pt x="66" y="102"/>
                    <a:pt x="65" y="110"/>
                    <a:pt x="65" y="120"/>
                  </a:cubicBezTo>
                  <a:lnTo>
                    <a:pt x="65" y="121"/>
                  </a:lnTo>
                  <a:cubicBezTo>
                    <a:pt x="65" y="130"/>
                    <a:pt x="66" y="139"/>
                    <a:pt x="69" y="147"/>
                  </a:cubicBezTo>
                  <a:cubicBezTo>
                    <a:pt x="72" y="155"/>
                    <a:pt x="76" y="161"/>
                    <a:pt x="81" y="167"/>
                  </a:cubicBezTo>
                  <a:cubicBezTo>
                    <a:pt x="86" y="172"/>
                    <a:pt x="92" y="177"/>
                    <a:pt x="99" y="180"/>
                  </a:cubicBezTo>
                  <a:cubicBezTo>
                    <a:pt x="106" y="183"/>
                    <a:pt x="113" y="184"/>
                    <a:pt x="121" y="184"/>
                  </a:cubicBezTo>
                  <a:close/>
                  <a:moveTo>
                    <a:pt x="0" y="5"/>
                  </a:moveTo>
                  <a:lnTo>
                    <a:pt x="66" y="5"/>
                  </a:lnTo>
                  <a:lnTo>
                    <a:pt x="66" y="38"/>
                  </a:lnTo>
                  <a:cubicBezTo>
                    <a:pt x="74" y="27"/>
                    <a:pt x="83" y="18"/>
                    <a:pt x="95" y="11"/>
                  </a:cubicBezTo>
                  <a:cubicBezTo>
                    <a:pt x="106" y="4"/>
                    <a:pt x="120" y="0"/>
                    <a:pt x="138" y="0"/>
                  </a:cubicBezTo>
                  <a:cubicBezTo>
                    <a:pt x="151" y="0"/>
                    <a:pt x="164" y="3"/>
                    <a:pt x="177" y="8"/>
                  </a:cubicBezTo>
                  <a:cubicBezTo>
                    <a:pt x="190" y="13"/>
                    <a:pt x="201" y="21"/>
                    <a:pt x="210" y="31"/>
                  </a:cubicBezTo>
                  <a:cubicBezTo>
                    <a:pt x="220" y="41"/>
                    <a:pt x="228" y="54"/>
                    <a:pt x="234" y="69"/>
                  </a:cubicBezTo>
                  <a:cubicBezTo>
                    <a:pt x="240" y="83"/>
                    <a:pt x="243" y="100"/>
                    <a:pt x="243" y="120"/>
                  </a:cubicBezTo>
                  <a:lnTo>
                    <a:pt x="243" y="121"/>
                  </a:lnTo>
                  <a:cubicBezTo>
                    <a:pt x="243" y="140"/>
                    <a:pt x="240" y="157"/>
                    <a:pt x="234" y="172"/>
                  </a:cubicBezTo>
                  <a:cubicBezTo>
                    <a:pt x="228" y="186"/>
                    <a:pt x="220" y="199"/>
                    <a:pt x="211" y="209"/>
                  </a:cubicBezTo>
                  <a:cubicBezTo>
                    <a:pt x="201" y="219"/>
                    <a:pt x="190" y="227"/>
                    <a:pt x="177" y="232"/>
                  </a:cubicBezTo>
                  <a:cubicBezTo>
                    <a:pt x="165" y="237"/>
                    <a:pt x="151" y="240"/>
                    <a:pt x="138" y="240"/>
                  </a:cubicBezTo>
                  <a:cubicBezTo>
                    <a:pt x="120" y="240"/>
                    <a:pt x="106" y="236"/>
                    <a:pt x="94" y="230"/>
                  </a:cubicBezTo>
                  <a:cubicBezTo>
                    <a:pt x="83" y="223"/>
                    <a:pt x="74" y="215"/>
                    <a:pt x="66" y="205"/>
                  </a:cubicBezTo>
                  <a:lnTo>
                    <a:pt x="66" y="305"/>
                  </a:lnTo>
                  <a:lnTo>
                    <a:pt x="0" y="305"/>
                  </a:lnTo>
                  <a:lnTo>
                    <a:pt x="0" y="5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" name="Freeform 23">
              <a:extLst>
                <a:ext uri="{FF2B5EF4-FFF2-40B4-BE49-F238E27FC236}">
                  <a16:creationId xmlns:a16="http://schemas.microsoft.com/office/drawing/2014/main" id="{90BF7283-5C24-E796-5D03-80B1BB32A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1" y="364"/>
              <a:ext cx="28" cy="31"/>
            </a:xfrm>
            <a:custGeom>
              <a:avLst/>
              <a:gdLst>
                <a:gd name="T0" fmla="*/ 163 w 226"/>
                <a:gd name="T1" fmla="*/ 102 h 241"/>
                <a:gd name="T2" fmla="*/ 147 w 226"/>
                <a:gd name="T3" fmla="*/ 66 h 241"/>
                <a:gd name="T4" fmla="*/ 114 w 226"/>
                <a:gd name="T5" fmla="*/ 53 h 241"/>
                <a:gd name="T6" fmla="*/ 81 w 226"/>
                <a:gd name="T7" fmla="*/ 66 h 241"/>
                <a:gd name="T8" fmla="*/ 64 w 226"/>
                <a:gd name="T9" fmla="*/ 102 h 241"/>
                <a:gd name="T10" fmla="*/ 163 w 226"/>
                <a:gd name="T11" fmla="*/ 102 h 241"/>
                <a:gd name="T12" fmla="*/ 120 w 226"/>
                <a:gd name="T13" fmla="*/ 241 h 241"/>
                <a:gd name="T14" fmla="*/ 72 w 226"/>
                <a:gd name="T15" fmla="*/ 232 h 241"/>
                <a:gd name="T16" fmla="*/ 34 w 226"/>
                <a:gd name="T17" fmla="*/ 208 h 241"/>
                <a:gd name="T18" fmla="*/ 9 w 226"/>
                <a:gd name="T19" fmla="*/ 170 h 241"/>
                <a:gd name="T20" fmla="*/ 0 w 226"/>
                <a:gd name="T21" fmla="*/ 121 h 241"/>
                <a:gd name="T22" fmla="*/ 0 w 226"/>
                <a:gd name="T23" fmla="*/ 121 h 241"/>
                <a:gd name="T24" fmla="*/ 8 w 226"/>
                <a:gd name="T25" fmla="*/ 74 h 241"/>
                <a:gd name="T26" fmla="*/ 32 w 226"/>
                <a:gd name="T27" fmla="*/ 36 h 241"/>
                <a:gd name="T28" fmla="*/ 68 w 226"/>
                <a:gd name="T29" fmla="*/ 10 h 241"/>
                <a:gd name="T30" fmla="*/ 114 w 226"/>
                <a:gd name="T31" fmla="*/ 0 h 241"/>
                <a:gd name="T32" fmla="*/ 164 w 226"/>
                <a:gd name="T33" fmla="*/ 11 h 241"/>
                <a:gd name="T34" fmla="*/ 199 w 226"/>
                <a:gd name="T35" fmla="*/ 38 h 241"/>
                <a:gd name="T36" fmla="*/ 220 w 226"/>
                <a:gd name="T37" fmla="*/ 79 h 241"/>
                <a:gd name="T38" fmla="*/ 226 w 226"/>
                <a:gd name="T39" fmla="*/ 126 h 241"/>
                <a:gd name="T40" fmla="*/ 226 w 226"/>
                <a:gd name="T41" fmla="*/ 134 h 241"/>
                <a:gd name="T42" fmla="*/ 226 w 226"/>
                <a:gd name="T43" fmla="*/ 143 h 241"/>
                <a:gd name="T44" fmla="*/ 65 w 226"/>
                <a:gd name="T45" fmla="*/ 143 h 241"/>
                <a:gd name="T46" fmla="*/ 85 w 226"/>
                <a:gd name="T47" fmla="*/ 177 h 241"/>
                <a:gd name="T48" fmla="*/ 121 w 226"/>
                <a:gd name="T49" fmla="*/ 188 h 241"/>
                <a:gd name="T50" fmla="*/ 151 w 226"/>
                <a:gd name="T51" fmla="*/ 183 h 241"/>
                <a:gd name="T52" fmla="*/ 177 w 226"/>
                <a:gd name="T53" fmla="*/ 164 h 241"/>
                <a:gd name="T54" fmla="*/ 215 w 226"/>
                <a:gd name="T55" fmla="*/ 198 h 241"/>
                <a:gd name="T56" fmla="*/ 175 w 226"/>
                <a:gd name="T57" fmla="*/ 229 h 241"/>
                <a:gd name="T58" fmla="*/ 120 w 226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6" h="241">
                  <a:moveTo>
                    <a:pt x="163" y="102"/>
                  </a:moveTo>
                  <a:cubicBezTo>
                    <a:pt x="161" y="87"/>
                    <a:pt x="156" y="76"/>
                    <a:pt x="147" y="66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0" y="53"/>
                    <a:pt x="89" y="57"/>
                    <a:pt x="81" y="66"/>
                  </a:cubicBezTo>
                  <a:cubicBezTo>
                    <a:pt x="72" y="75"/>
                    <a:pt x="67" y="87"/>
                    <a:pt x="64" y="102"/>
                  </a:cubicBezTo>
                  <a:lnTo>
                    <a:pt x="163" y="102"/>
                  </a:lnTo>
                  <a:close/>
                  <a:moveTo>
                    <a:pt x="120" y="241"/>
                  </a:moveTo>
                  <a:cubicBezTo>
                    <a:pt x="103" y="241"/>
                    <a:pt x="87" y="238"/>
                    <a:pt x="72" y="232"/>
                  </a:cubicBezTo>
                  <a:cubicBezTo>
                    <a:pt x="58" y="226"/>
                    <a:pt x="45" y="218"/>
                    <a:pt x="34" y="208"/>
                  </a:cubicBezTo>
                  <a:cubicBezTo>
                    <a:pt x="23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8" y="74"/>
                  </a:cubicBezTo>
                  <a:cubicBezTo>
                    <a:pt x="14" y="59"/>
                    <a:pt x="22" y="47"/>
                    <a:pt x="32" y="36"/>
                  </a:cubicBezTo>
                  <a:cubicBezTo>
                    <a:pt x="42" y="25"/>
                    <a:pt x="54" y="16"/>
                    <a:pt x="68" y="10"/>
                  </a:cubicBezTo>
                  <a:cubicBezTo>
                    <a:pt x="82" y="4"/>
                    <a:pt x="97" y="0"/>
                    <a:pt x="114" y="0"/>
                  </a:cubicBezTo>
                  <a:cubicBezTo>
                    <a:pt x="133" y="0"/>
                    <a:pt x="150" y="4"/>
                    <a:pt x="164" y="11"/>
                  </a:cubicBezTo>
                  <a:cubicBezTo>
                    <a:pt x="178" y="18"/>
                    <a:pt x="190" y="27"/>
                    <a:pt x="199" y="38"/>
                  </a:cubicBezTo>
                  <a:cubicBezTo>
                    <a:pt x="208" y="50"/>
                    <a:pt x="215" y="63"/>
                    <a:pt x="220" y="79"/>
                  </a:cubicBezTo>
                  <a:cubicBezTo>
                    <a:pt x="224" y="94"/>
                    <a:pt x="226" y="109"/>
                    <a:pt x="226" y="126"/>
                  </a:cubicBezTo>
                  <a:cubicBezTo>
                    <a:pt x="226" y="128"/>
                    <a:pt x="226" y="131"/>
                    <a:pt x="226" y="134"/>
                  </a:cubicBezTo>
                  <a:cubicBezTo>
                    <a:pt x="226" y="137"/>
                    <a:pt x="226" y="140"/>
                    <a:pt x="226" y="143"/>
                  </a:cubicBezTo>
                  <a:lnTo>
                    <a:pt x="65" y="143"/>
                  </a:lnTo>
                  <a:cubicBezTo>
                    <a:pt x="68" y="158"/>
                    <a:pt x="75" y="169"/>
                    <a:pt x="85" y="177"/>
                  </a:cubicBezTo>
                  <a:cubicBezTo>
                    <a:pt x="94" y="184"/>
                    <a:pt x="107" y="188"/>
                    <a:pt x="121" y="188"/>
                  </a:cubicBezTo>
                  <a:cubicBezTo>
                    <a:pt x="132" y="188"/>
                    <a:pt x="142" y="186"/>
                    <a:pt x="151" y="183"/>
                  </a:cubicBezTo>
                  <a:cubicBezTo>
                    <a:pt x="159" y="179"/>
                    <a:pt x="168" y="173"/>
                    <a:pt x="177" y="164"/>
                  </a:cubicBezTo>
                  <a:lnTo>
                    <a:pt x="215" y="198"/>
                  </a:lnTo>
                  <a:cubicBezTo>
                    <a:pt x="204" y="211"/>
                    <a:pt x="191" y="222"/>
                    <a:pt x="175" y="229"/>
                  </a:cubicBezTo>
                  <a:cubicBezTo>
                    <a:pt x="160" y="237"/>
                    <a:pt x="141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" name="Freeform 24">
              <a:extLst>
                <a:ext uri="{FF2B5EF4-FFF2-40B4-BE49-F238E27FC236}">
                  <a16:creationId xmlns:a16="http://schemas.microsoft.com/office/drawing/2014/main" id="{F2AF1376-2AF2-AF37-84FE-DC0A86861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" y="364"/>
              <a:ext cx="17" cy="30"/>
            </a:xfrm>
            <a:custGeom>
              <a:avLst/>
              <a:gdLst>
                <a:gd name="T0" fmla="*/ 0 w 139"/>
                <a:gd name="T1" fmla="*/ 6 h 237"/>
                <a:gd name="T2" fmla="*/ 66 w 139"/>
                <a:gd name="T3" fmla="*/ 6 h 237"/>
                <a:gd name="T4" fmla="*/ 66 w 139"/>
                <a:gd name="T5" fmla="*/ 52 h 237"/>
                <a:gd name="T6" fmla="*/ 93 w 139"/>
                <a:gd name="T7" fmla="*/ 14 h 237"/>
                <a:gd name="T8" fmla="*/ 139 w 139"/>
                <a:gd name="T9" fmla="*/ 1 h 237"/>
                <a:gd name="T10" fmla="*/ 139 w 139"/>
                <a:gd name="T11" fmla="*/ 70 h 237"/>
                <a:gd name="T12" fmla="*/ 136 w 139"/>
                <a:gd name="T13" fmla="*/ 70 h 237"/>
                <a:gd name="T14" fmla="*/ 84 w 139"/>
                <a:gd name="T15" fmla="*/ 90 h 237"/>
                <a:gd name="T16" fmla="*/ 66 w 139"/>
                <a:gd name="T17" fmla="*/ 151 h 237"/>
                <a:gd name="T18" fmla="*/ 66 w 139"/>
                <a:gd name="T19" fmla="*/ 237 h 237"/>
                <a:gd name="T20" fmla="*/ 0 w 139"/>
                <a:gd name="T21" fmla="*/ 237 h 237"/>
                <a:gd name="T22" fmla="*/ 0 w 139"/>
                <a:gd name="T23" fmla="*/ 6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237">
                  <a:moveTo>
                    <a:pt x="0" y="6"/>
                  </a:moveTo>
                  <a:lnTo>
                    <a:pt x="66" y="6"/>
                  </a:lnTo>
                  <a:lnTo>
                    <a:pt x="66" y="52"/>
                  </a:lnTo>
                  <a:cubicBezTo>
                    <a:pt x="72" y="36"/>
                    <a:pt x="81" y="24"/>
                    <a:pt x="93" y="14"/>
                  </a:cubicBezTo>
                  <a:cubicBezTo>
                    <a:pt x="104" y="5"/>
                    <a:pt x="120" y="0"/>
                    <a:pt x="139" y="1"/>
                  </a:cubicBezTo>
                  <a:lnTo>
                    <a:pt x="139" y="70"/>
                  </a:lnTo>
                  <a:lnTo>
                    <a:pt x="136" y="70"/>
                  </a:lnTo>
                  <a:cubicBezTo>
                    <a:pt x="114" y="70"/>
                    <a:pt x="97" y="76"/>
                    <a:pt x="84" y="90"/>
                  </a:cubicBezTo>
                  <a:cubicBezTo>
                    <a:pt x="72" y="103"/>
                    <a:pt x="66" y="123"/>
                    <a:pt x="66" y="151"/>
                  </a:cubicBezTo>
                  <a:lnTo>
                    <a:pt x="66" y="237"/>
                  </a:lnTo>
                  <a:lnTo>
                    <a:pt x="0" y="237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3" name="Freeform 25">
              <a:extLst>
                <a:ext uri="{FF2B5EF4-FFF2-40B4-BE49-F238E27FC236}">
                  <a16:creationId xmlns:a16="http://schemas.microsoft.com/office/drawing/2014/main" id="{8D632192-59C9-5B7A-A786-F3FBAA181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6" y="364"/>
              <a:ext cx="26" cy="31"/>
            </a:xfrm>
            <a:custGeom>
              <a:avLst/>
              <a:gdLst>
                <a:gd name="T0" fmla="*/ 100 w 213"/>
                <a:gd name="T1" fmla="*/ 193 h 238"/>
                <a:gd name="T2" fmla="*/ 137 w 213"/>
                <a:gd name="T3" fmla="*/ 181 h 238"/>
                <a:gd name="T4" fmla="*/ 151 w 213"/>
                <a:gd name="T5" fmla="*/ 152 h 238"/>
                <a:gd name="T6" fmla="*/ 151 w 213"/>
                <a:gd name="T7" fmla="*/ 141 h 238"/>
                <a:gd name="T8" fmla="*/ 132 w 213"/>
                <a:gd name="T9" fmla="*/ 134 h 238"/>
                <a:gd name="T10" fmla="*/ 109 w 213"/>
                <a:gd name="T11" fmla="*/ 132 h 238"/>
                <a:gd name="T12" fmla="*/ 76 w 213"/>
                <a:gd name="T13" fmla="*/ 140 h 238"/>
                <a:gd name="T14" fmla="*/ 64 w 213"/>
                <a:gd name="T15" fmla="*/ 164 h 238"/>
                <a:gd name="T16" fmla="*/ 64 w 213"/>
                <a:gd name="T17" fmla="*/ 165 h 238"/>
                <a:gd name="T18" fmla="*/ 74 w 213"/>
                <a:gd name="T19" fmla="*/ 185 h 238"/>
                <a:gd name="T20" fmla="*/ 100 w 213"/>
                <a:gd name="T21" fmla="*/ 193 h 238"/>
                <a:gd name="T22" fmla="*/ 80 w 213"/>
                <a:gd name="T23" fmla="*/ 238 h 238"/>
                <a:gd name="T24" fmla="*/ 49 w 213"/>
                <a:gd name="T25" fmla="*/ 233 h 238"/>
                <a:gd name="T26" fmla="*/ 24 w 213"/>
                <a:gd name="T27" fmla="*/ 220 h 238"/>
                <a:gd name="T28" fmla="*/ 7 w 213"/>
                <a:gd name="T29" fmla="*/ 198 h 238"/>
                <a:gd name="T30" fmla="*/ 0 w 213"/>
                <a:gd name="T31" fmla="*/ 167 h 238"/>
                <a:gd name="T32" fmla="*/ 0 w 213"/>
                <a:gd name="T33" fmla="*/ 166 h 238"/>
                <a:gd name="T34" fmla="*/ 7 w 213"/>
                <a:gd name="T35" fmla="*/ 134 h 238"/>
                <a:gd name="T36" fmla="*/ 26 w 213"/>
                <a:gd name="T37" fmla="*/ 111 h 238"/>
                <a:gd name="T38" fmla="*/ 56 w 213"/>
                <a:gd name="T39" fmla="*/ 97 h 238"/>
                <a:gd name="T40" fmla="*/ 93 w 213"/>
                <a:gd name="T41" fmla="*/ 93 h 238"/>
                <a:gd name="T42" fmla="*/ 124 w 213"/>
                <a:gd name="T43" fmla="*/ 95 h 238"/>
                <a:gd name="T44" fmla="*/ 150 w 213"/>
                <a:gd name="T45" fmla="*/ 102 h 238"/>
                <a:gd name="T46" fmla="*/ 150 w 213"/>
                <a:gd name="T47" fmla="*/ 98 h 238"/>
                <a:gd name="T48" fmla="*/ 137 w 213"/>
                <a:gd name="T49" fmla="*/ 67 h 238"/>
                <a:gd name="T50" fmla="*/ 100 w 213"/>
                <a:gd name="T51" fmla="*/ 56 h 238"/>
                <a:gd name="T52" fmla="*/ 67 w 213"/>
                <a:gd name="T53" fmla="*/ 59 h 238"/>
                <a:gd name="T54" fmla="*/ 37 w 213"/>
                <a:gd name="T55" fmla="*/ 69 h 238"/>
                <a:gd name="T56" fmla="*/ 20 w 213"/>
                <a:gd name="T57" fmla="*/ 19 h 238"/>
                <a:gd name="T58" fmla="*/ 60 w 213"/>
                <a:gd name="T59" fmla="*/ 5 h 238"/>
                <a:gd name="T60" fmla="*/ 110 w 213"/>
                <a:gd name="T61" fmla="*/ 0 h 238"/>
                <a:gd name="T62" fmla="*/ 156 w 213"/>
                <a:gd name="T63" fmla="*/ 7 h 238"/>
                <a:gd name="T64" fmla="*/ 188 w 213"/>
                <a:gd name="T65" fmla="*/ 26 h 238"/>
                <a:gd name="T66" fmla="*/ 207 w 213"/>
                <a:gd name="T67" fmla="*/ 58 h 238"/>
                <a:gd name="T68" fmla="*/ 213 w 213"/>
                <a:gd name="T69" fmla="*/ 100 h 238"/>
                <a:gd name="T70" fmla="*/ 213 w 213"/>
                <a:gd name="T71" fmla="*/ 234 h 238"/>
                <a:gd name="T72" fmla="*/ 149 w 213"/>
                <a:gd name="T73" fmla="*/ 234 h 238"/>
                <a:gd name="T74" fmla="*/ 149 w 213"/>
                <a:gd name="T75" fmla="*/ 209 h 238"/>
                <a:gd name="T76" fmla="*/ 121 w 213"/>
                <a:gd name="T77" fmla="*/ 230 h 238"/>
                <a:gd name="T78" fmla="*/ 80 w 213"/>
                <a:gd name="T7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3" h="238">
                  <a:moveTo>
                    <a:pt x="100" y="193"/>
                  </a:moveTo>
                  <a:cubicBezTo>
                    <a:pt x="115" y="193"/>
                    <a:pt x="127" y="189"/>
                    <a:pt x="137" y="181"/>
                  </a:cubicBezTo>
                  <a:cubicBezTo>
                    <a:pt x="146" y="174"/>
                    <a:pt x="151" y="164"/>
                    <a:pt x="151" y="152"/>
                  </a:cubicBezTo>
                  <a:lnTo>
                    <a:pt x="151" y="141"/>
                  </a:lnTo>
                  <a:cubicBezTo>
                    <a:pt x="145" y="138"/>
                    <a:pt x="139" y="136"/>
                    <a:pt x="132" y="134"/>
                  </a:cubicBezTo>
                  <a:cubicBezTo>
                    <a:pt x="125" y="133"/>
                    <a:pt x="117" y="132"/>
                    <a:pt x="109" y="132"/>
                  </a:cubicBezTo>
                  <a:cubicBezTo>
                    <a:pt x="95" y="132"/>
                    <a:pt x="84" y="135"/>
                    <a:pt x="76" y="140"/>
                  </a:cubicBezTo>
                  <a:cubicBezTo>
                    <a:pt x="68" y="146"/>
                    <a:pt x="64" y="153"/>
                    <a:pt x="64" y="164"/>
                  </a:cubicBezTo>
                  <a:lnTo>
                    <a:pt x="64" y="165"/>
                  </a:lnTo>
                  <a:cubicBezTo>
                    <a:pt x="64" y="174"/>
                    <a:pt x="67" y="180"/>
                    <a:pt x="74" y="185"/>
                  </a:cubicBezTo>
                  <a:cubicBezTo>
                    <a:pt x="80" y="190"/>
                    <a:pt x="89" y="193"/>
                    <a:pt x="100" y="193"/>
                  </a:cubicBezTo>
                  <a:close/>
                  <a:moveTo>
                    <a:pt x="80" y="238"/>
                  </a:moveTo>
                  <a:cubicBezTo>
                    <a:pt x="69" y="238"/>
                    <a:pt x="59" y="236"/>
                    <a:pt x="49" y="233"/>
                  </a:cubicBezTo>
                  <a:cubicBezTo>
                    <a:pt x="39" y="230"/>
                    <a:pt x="31" y="226"/>
                    <a:pt x="24" y="220"/>
                  </a:cubicBezTo>
                  <a:cubicBezTo>
                    <a:pt x="17" y="214"/>
                    <a:pt x="11" y="206"/>
                    <a:pt x="7" y="198"/>
                  </a:cubicBezTo>
                  <a:cubicBezTo>
                    <a:pt x="3" y="189"/>
                    <a:pt x="0" y="179"/>
                    <a:pt x="0" y="167"/>
                  </a:cubicBezTo>
                  <a:lnTo>
                    <a:pt x="0" y="166"/>
                  </a:lnTo>
                  <a:cubicBezTo>
                    <a:pt x="0" y="154"/>
                    <a:pt x="3" y="143"/>
                    <a:pt x="7" y="134"/>
                  </a:cubicBezTo>
                  <a:cubicBezTo>
                    <a:pt x="12" y="124"/>
                    <a:pt x="18" y="117"/>
                    <a:pt x="26" y="111"/>
                  </a:cubicBezTo>
                  <a:cubicBezTo>
                    <a:pt x="35" y="105"/>
                    <a:pt x="44" y="100"/>
                    <a:pt x="56" y="97"/>
                  </a:cubicBezTo>
                  <a:cubicBezTo>
                    <a:pt x="67" y="94"/>
                    <a:pt x="80" y="93"/>
                    <a:pt x="93" y="93"/>
                  </a:cubicBezTo>
                  <a:cubicBezTo>
                    <a:pt x="105" y="93"/>
                    <a:pt x="116" y="94"/>
                    <a:pt x="124" y="95"/>
                  </a:cubicBezTo>
                  <a:cubicBezTo>
                    <a:pt x="133" y="97"/>
                    <a:pt x="142" y="99"/>
                    <a:pt x="150" y="102"/>
                  </a:cubicBezTo>
                  <a:lnTo>
                    <a:pt x="150" y="98"/>
                  </a:lnTo>
                  <a:cubicBezTo>
                    <a:pt x="150" y="85"/>
                    <a:pt x="146" y="74"/>
                    <a:pt x="137" y="67"/>
                  </a:cubicBezTo>
                  <a:cubicBezTo>
                    <a:pt x="129" y="60"/>
                    <a:pt x="117" y="56"/>
                    <a:pt x="100" y="56"/>
                  </a:cubicBezTo>
                  <a:cubicBezTo>
                    <a:pt x="88" y="56"/>
                    <a:pt x="77" y="57"/>
                    <a:pt x="67" y="59"/>
                  </a:cubicBezTo>
                  <a:cubicBezTo>
                    <a:pt x="57" y="61"/>
                    <a:pt x="47" y="65"/>
                    <a:pt x="37" y="69"/>
                  </a:cubicBezTo>
                  <a:lnTo>
                    <a:pt x="20" y="19"/>
                  </a:lnTo>
                  <a:cubicBezTo>
                    <a:pt x="33" y="13"/>
                    <a:pt x="46" y="9"/>
                    <a:pt x="60" y="5"/>
                  </a:cubicBezTo>
                  <a:cubicBezTo>
                    <a:pt x="74" y="2"/>
                    <a:pt x="90" y="0"/>
                    <a:pt x="110" y="0"/>
                  </a:cubicBezTo>
                  <a:cubicBezTo>
                    <a:pt x="128" y="0"/>
                    <a:pt x="143" y="2"/>
                    <a:pt x="156" y="7"/>
                  </a:cubicBezTo>
                  <a:cubicBezTo>
                    <a:pt x="169" y="11"/>
                    <a:pt x="179" y="18"/>
                    <a:pt x="188" y="26"/>
                  </a:cubicBezTo>
                  <a:cubicBezTo>
                    <a:pt x="196" y="35"/>
                    <a:pt x="203" y="45"/>
                    <a:pt x="207" y="58"/>
                  </a:cubicBezTo>
                  <a:cubicBezTo>
                    <a:pt x="211" y="70"/>
                    <a:pt x="213" y="84"/>
                    <a:pt x="213" y="100"/>
                  </a:cubicBezTo>
                  <a:lnTo>
                    <a:pt x="213" y="234"/>
                  </a:lnTo>
                  <a:lnTo>
                    <a:pt x="149" y="234"/>
                  </a:lnTo>
                  <a:lnTo>
                    <a:pt x="149" y="209"/>
                  </a:lnTo>
                  <a:cubicBezTo>
                    <a:pt x="141" y="217"/>
                    <a:pt x="132" y="225"/>
                    <a:pt x="121" y="230"/>
                  </a:cubicBezTo>
                  <a:cubicBezTo>
                    <a:pt x="109" y="235"/>
                    <a:pt x="96" y="238"/>
                    <a:pt x="80" y="2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4" name="Freeform 26">
              <a:extLst>
                <a:ext uri="{FF2B5EF4-FFF2-40B4-BE49-F238E27FC236}">
                  <a16:creationId xmlns:a16="http://schemas.microsoft.com/office/drawing/2014/main" id="{10E0B9E7-D326-22A9-8C34-44D6DD8D81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8" y="364"/>
              <a:ext cx="26" cy="31"/>
            </a:xfrm>
            <a:custGeom>
              <a:avLst/>
              <a:gdLst>
                <a:gd name="T0" fmla="*/ 120 w 215"/>
                <a:gd name="T1" fmla="*/ 241 h 241"/>
                <a:gd name="T2" fmla="*/ 72 w 215"/>
                <a:gd name="T3" fmla="*/ 231 h 241"/>
                <a:gd name="T4" fmla="*/ 34 w 215"/>
                <a:gd name="T5" fmla="*/ 206 h 241"/>
                <a:gd name="T6" fmla="*/ 9 w 215"/>
                <a:gd name="T7" fmla="*/ 168 h 241"/>
                <a:gd name="T8" fmla="*/ 0 w 215"/>
                <a:gd name="T9" fmla="*/ 121 h 241"/>
                <a:gd name="T10" fmla="*/ 0 w 215"/>
                <a:gd name="T11" fmla="*/ 121 h 241"/>
                <a:gd name="T12" fmla="*/ 9 w 215"/>
                <a:gd name="T13" fmla="*/ 74 h 241"/>
                <a:gd name="T14" fmla="*/ 34 w 215"/>
                <a:gd name="T15" fmla="*/ 36 h 241"/>
                <a:gd name="T16" fmla="*/ 72 w 215"/>
                <a:gd name="T17" fmla="*/ 10 h 241"/>
                <a:gd name="T18" fmla="*/ 121 w 215"/>
                <a:gd name="T19" fmla="*/ 0 h 241"/>
                <a:gd name="T20" fmla="*/ 175 w 215"/>
                <a:gd name="T21" fmla="*/ 11 h 241"/>
                <a:gd name="T22" fmla="*/ 213 w 215"/>
                <a:gd name="T23" fmla="*/ 39 h 241"/>
                <a:gd name="T24" fmla="*/ 173 w 215"/>
                <a:gd name="T25" fmla="*/ 82 h 241"/>
                <a:gd name="T26" fmla="*/ 150 w 215"/>
                <a:gd name="T27" fmla="*/ 64 h 241"/>
                <a:gd name="T28" fmla="*/ 121 w 215"/>
                <a:gd name="T29" fmla="*/ 57 h 241"/>
                <a:gd name="T30" fmla="*/ 98 w 215"/>
                <a:gd name="T31" fmla="*/ 62 h 241"/>
                <a:gd name="T32" fmla="*/ 80 w 215"/>
                <a:gd name="T33" fmla="*/ 75 h 241"/>
                <a:gd name="T34" fmla="*/ 69 w 215"/>
                <a:gd name="T35" fmla="*/ 95 h 241"/>
                <a:gd name="T36" fmla="*/ 65 w 215"/>
                <a:gd name="T37" fmla="*/ 120 h 241"/>
                <a:gd name="T38" fmla="*/ 65 w 215"/>
                <a:gd name="T39" fmla="*/ 121 h 241"/>
                <a:gd name="T40" fmla="*/ 69 w 215"/>
                <a:gd name="T41" fmla="*/ 146 h 241"/>
                <a:gd name="T42" fmla="*/ 81 w 215"/>
                <a:gd name="T43" fmla="*/ 166 h 241"/>
                <a:gd name="T44" fmla="*/ 99 w 215"/>
                <a:gd name="T45" fmla="*/ 179 h 241"/>
                <a:gd name="T46" fmla="*/ 123 w 215"/>
                <a:gd name="T47" fmla="*/ 184 h 241"/>
                <a:gd name="T48" fmla="*/ 152 w 215"/>
                <a:gd name="T49" fmla="*/ 178 h 241"/>
                <a:gd name="T50" fmla="*/ 176 w 215"/>
                <a:gd name="T51" fmla="*/ 160 h 241"/>
                <a:gd name="T52" fmla="*/ 215 w 215"/>
                <a:gd name="T53" fmla="*/ 199 h 241"/>
                <a:gd name="T54" fmla="*/ 176 w 215"/>
                <a:gd name="T55" fmla="*/ 229 h 241"/>
                <a:gd name="T56" fmla="*/ 120 w 215"/>
                <a:gd name="T5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5" h="241">
                  <a:moveTo>
                    <a:pt x="120" y="241"/>
                  </a:moveTo>
                  <a:cubicBezTo>
                    <a:pt x="103" y="241"/>
                    <a:pt x="87" y="238"/>
                    <a:pt x="72" y="231"/>
                  </a:cubicBezTo>
                  <a:cubicBezTo>
                    <a:pt x="57" y="225"/>
                    <a:pt x="45" y="216"/>
                    <a:pt x="34" y="206"/>
                  </a:cubicBezTo>
                  <a:cubicBezTo>
                    <a:pt x="23" y="195"/>
                    <a:pt x="15" y="182"/>
                    <a:pt x="9" y="168"/>
                  </a:cubicBezTo>
                  <a:cubicBezTo>
                    <a:pt x="3" y="153"/>
                    <a:pt x="0" y="138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9" y="74"/>
                  </a:cubicBezTo>
                  <a:cubicBezTo>
                    <a:pt x="15" y="59"/>
                    <a:pt x="23" y="47"/>
                    <a:pt x="34" y="36"/>
                  </a:cubicBezTo>
                  <a:cubicBezTo>
                    <a:pt x="45" y="25"/>
                    <a:pt x="57" y="16"/>
                    <a:pt x="72" y="10"/>
                  </a:cubicBezTo>
                  <a:cubicBezTo>
                    <a:pt x="87" y="4"/>
                    <a:pt x="103" y="0"/>
                    <a:pt x="121" y="0"/>
                  </a:cubicBezTo>
                  <a:cubicBezTo>
                    <a:pt x="143" y="0"/>
                    <a:pt x="161" y="4"/>
                    <a:pt x="175" y="11"/>
                  </a:cubicBezTo>
                  <a:cubicBezTo>
                    <a:pt x="190" y="18"/>
                    <a:pt x="202" y="27"/>
                    <a:pt x="213" y="39"/>
                  </a:cubicBezTo>
                  <a:lnTo>
                    <a:pt x="173" y="82"/>
                  </a:lnTo>
                  <a:cubicBezTo>
                    <a:pt x="166" y="74"/>
                    <a:pt x="158" y="68"/>
                    <a:pt x="150" y="64"/>
                  </a:cubicBezTo>
                  <a:cubicBezTo>
                    <a:pt x="142" y="59"/>
                    <a:pt x="132" y="57"/>
                    <a:pt x="121" y="57"/>
                  </a:cubicBezTo>
                  <a:cubicBezTo>
                    <a:pt x="112" y="57"/>
                    <a:pt x="105" y="58"/>
                    <a:pt x="98" y="62"/>
                  </a:cubicBezTo>
                  <a:cubicBezTo>
                    <a:pt x="91" y="65"/>
                    <a:pt x="85" y="70"/>
                    <a:pt x="80" y="75"/>
                  </a:cubicBezTo>
                  <a:cubicBezTo>
                    <a:pt x="75" y="81"/>
                    <a:pt x="71" y="88"/>
                    <a:pt x="69" y="95"/>
                  </a:cubicBezTo>
                  <a:cubicBezTo>
                    <a:pt x="66" y="103"/>
                    <a:pt x="65" y="111"/>
                    <a:pt x="65" y="120"/>
                  </a:cubicBezTo>
                  <a:lnTo>
                    <a:pt x="65" y="121"/>
                  </a:lnTo>
                  <a:cubicBezTo>
                    <a:pt x="65" y="129"/>
                    <a:pt x="66" y="138"/>
                    <a:pt x="69" y="146"/>
                  </a:cubicBezTo>
                  <a:cubicBezTo>
                    <a:pt x="71" y="153"/>
                    <a:pt x="75" y="160"/>
                    <a:pt x="81" y="166"/>
                  </a:cubicBezTo>
                  <a:cubicBezTo>
                    <a:pt x="86" y="172"/>
                    <a:pt x="92" y="176"/>
                    <a:pt x="99" y="179"/>
                  </a:cubicBezTo>
                  <a:cubicBezTo>
                    <a:pt x="106" y="183"/>
                    <a:pt x="114" y="184"/>
                    <a:pt x="123" y="184"/>
                  </a:cubicBezTo>
                  <a:cubicBezTo>
                    <a:pt x="134" y="184"/>
                    <a:pt x="144" y="182"/>
                    <a:pt x="152" y="178"/>
                  </a:cubicBezTo>
                  <a:cubicBezTo>
                    <a:pt x="160" y="173"/>
                    <a:pt x="168" y="167"/>
                    <a:pt x="176" y="160"/>
                  </a:cubicBezTo>
                  <a:lnTo>
                    <a:pt x="215" y="199"/>
                  </a:lnTo>
                  <a:cubicBezTo>
                    <a:pt x="203" y="211"/>
                    <a:pt x="191" y="221"/>
                    <a:pt x="176" y="229"/>
                  </a:cubicBezTo>
                  <a:cubicBezTo>
                    <a:pt x="162" y="237"/>
                    <a:pt x="143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5" name="Freeform 27">
              <a:extLst>
                <a:ext uri="{FF2B5EF4-FFF2-40B4-BE49-F238E27FC236}">
                  <a16:creationId xmlns:a16="http://schemas.microsoft.com/office/drawing/2014/main" id="{DEA54410-28C0-B6D8-6753-0CB661FD50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0" y="354"/>
              <a:ext cx="8" cy="40"/>
            </a:xfrm>
            <a:custGeom>
              <a:avLst/>
              <a:gdLst>
                <a:gd name="T0" fmla="*/ 1 w 68"/>
                <a:gd name="T1" fmla="*/ 84 h 315"/>
                <a:gd name="T2" fmla="*/ 67 w 68"/>
                <a:gd name="T3" fmla="*/ 84 h 315"/>
                <a:gd name="T4" fmla="*/ 67 w 68"/>
                <a:gd name="T5" fmla="*/ 315 h 315"/>
                <a:gd name="T6" fmla="*/ 1 w 68"/>
                <a:gd name="T7" fmla="*/ 315 h 315"/>
                <a:gd name="T8" fmla="*/ 1 w 68"/>
                <a:gd name="T9" fmla="*/ 84 h 315"/>
                <a:gd name="T10" fmla="*/ 0 w 68"/>
                <a:gd name="T11" fmla="*/ 0 h 315"/>
                <a:gd name="T12" fmla="*/ 68 w 68"/>
                <a:gd name="T13" fmla="*/ 0 h 315"/>
                <a:gd name="T14" fmla="*/ 68 w 68"/>
                <a:gd name="T15" fmla="*/ 58 h 315"/>
                <a:gd name="T16" fmla="*/ 0 w 68"/>
                <a:gd name="T17" fmla="*/ 58 h 315"/>
                <a:gd name="T18" fmla="*/ 0 w 68"/>
                <a:gd name="T1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315">
                  <a:moveTo>
                    <a:pt x="1" y="84"/>
                  </a:moveTo>
                  <a:lnTo>
                    <a:pt x="67" y="84"/>
                  </a:lnTo>
                  <a:lnTo>
                    <a:pt x="67" y="315"/>
                  </a:lnTo>
                  <a:lnTo>
                    <a:pt x="1" y="315"/>
                  </a:lnTo>
                  <a:lnTo>
                    <a:pt x="1" y="84"/>
                  </a:lnTo>
                  <a:close/>
                  <a:moveTo>
                    <a:pt x="0" y="0"/>
                  </a:moveTo>
                  <a:lnTo>
                    <a:pt x="68" y="0"/>
                  </a:lnTo>
                  <a:lnTo>
                    <a:pt x="68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6" name="Freeform 28">
              <a:extLst>
                <a:ext uri="{FF2B5EF4-FFF2-40B4-BE49-F238E27FC236}">
                  <a16:creationId xmlns:a16="http://schemas.microsoft.com/office/drawing/2014/main" id="{DF86E673-87CB-392A-1452-1F862ECDA4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4" y="352"/>
              <a:ext cx="31" cy="43"/>
            </a:xfrm>
            <a:custGeom>
              <a:avLst/>
              <a:gdLst>
                <a:gd name="T0" fmla="*/ 149 w 250"/>
                <a:gd name="T1" fmla="*/ 0 h 338"/>
                <a:gd name="T2" fmla="*/ 205 w 250"/>
                <a:gd name="T3" fmla="*/ 25 h 338"/>
                <a:gd name="T4" fmla="*/ 150 w 250"/>
                <a:gd name="T5" fmla="*/ 76 h 338"/>
                <a:gd name="T6" fmla="*/ 100 w 250"/>
                <a:gd name="T7" fmla="*/ 76 h 338"/>
                <a:gd name="T8" fmla="*/ 149 w 250"/>
                <a:gd name="T9" fmla="*/ 0 h 338"/>
                <a:gd name="T10" fmla="*/ 126 w 250"/>
                <a:gd name="T11" fmla="*/ 281 h 338"/>
                <a:gd name="T12" fmla="*/ 151 w 250"/>
                <a:gd name="T13" fmla="*/ 276 h 338"/>
                <a:gd name="T14" fmla="*/ 169 w 250"/>
                <a:gd name="T15" fmla="*/ 263 h 338"/>
                <a:gd name="T16" fmla="*/ 181 w 250"/>
                <a:gd name="T17" fmla="*/ 243 h 338"/>
                <a:gd name="T18" fmla="*/ 185 w 250"/>
                <a:gd name="T19" fmla="*/ 218 h 338"/>
                <a:gd name="T20" fmla="*/ 185 w 250"/>
                <a:gd name="T21" fmla="*/ 218 h 338"/>
                <a:gd name="T22" fmla="*/ 181 w 250"/>
                <a:gd name="T23" fmla="*/ 193 h 338"/>
                <a:gd name="T24" fmla="*/ 169 w 250"/>
                <a:gd name="T25" fmla="*/ 173 h 338"/>
                <a:gd name="T26" fmla="*/ 149 w 250"/>
                <a:gd name="T27" fmla="*/ 159 h 338"/>
                <a:gd name="T28" fmla="*/ 125 w 250"/>
                <a:gd name="T29" fmla="*/ 154 h 338"/>
                <a:gd name="T30" fmla="*/ 99 w 250"/>
                <a:gd name="T31" fmla="*/ 159 h 338"/>
                <a:gd name="T32" fmla="*/ 81 w 250"/>
                <a:gd name="T33" fmla="*/ 172 h 338"/>
                <a:gd name="T34" fmla="*/ 69 w 250"/>
                <a:gd name="T35" fmla="*/ 192 h 338"/>
                <a:gd name="T36" fmla="*/ 65 w 250"/>
                <a:gd name="T37" fmla="*/ 217 h 338"/>
                <a:gd name="T38" fmla="*/ 65 w 250"/>
                <a:gd name="T39" fmla="*/ 218 h 338"/>
                <a:gd name="T40" fmla="*/ 69 w 250"/>
                <a:gd name="T41" fmla="*/ 242 h 338"/>
                <a:gd name="T42" fmla="*/ 82 w 250"/>
                <a:gd name="T43" fmla="*/ 262 h 338"/>
                <a:gd name="T44" fmla="*/ 101 w 250"/>
                <a:gd name="T45" fmla="*/ 276 h 338"/>
                <a:gd name="T46" fmla="*/ 126 w 250"/>
                <a:gd name="T47" fmla="*/ 281 h 338"/>
                <a:gd name="T48" fmla="*/ 125 w 250"/>
                <a:gd name="T49" fmla="*/ 338 h 338"/>
                <a:gd name="T50" fmla="*/ 75 w 250"/>
                <a:gd name="T51" fmla="*/ 328 h 338"/>
                <a:gd name="T52" fmla="*/ 36 w 250"/>
                <a:gd name="T53" fmla="*/ 303 h 338"/>
                <a:gd name="T54" fmla="*/ 10 w 250"/>
                <a:gd name="T55" fmla="*/ 265 h 338"/>
                <a:gd name="T56" fmla="*/ 0 w 250"/>
                <a:gd name="T57" fmla="*/ 218 h 338"/>
                <a:gd name="T58" fmla="*/ 0 w 250"/>
                <a:gd name="T59" fmla="*/ 218 h 338"/>
                <a:gd name="T60" fmla="*/ 10 w 250"/>
                <a:gd name="T61" fmla="*/ 171 h 338"/>
                <a:gd name="T62" fmla="*/ 36 w 250"/>
                <a:gd name="T63" fmla="*/ 133 h 338"/>
                <a:gd name="T64" fmla="*/ 76 w 250"/>
                <a:gd name="T65" fmla="*/ 107 h 338"/>
                <a:gd name="T66" fmla="*/ 126 w 250"/>
                <a:gd name="T67" fmla="*/ 97 h 338"/>
                <a:gd name="T68" fmla="*/ 175 w 250"/>
                <a:gd name="T69" fmla="*/ 107 h 338"/>
                <a:gd name="T70" fmla="*/ 214 w 250"/>
                <a:gd name="T71" fmla="*/ 132 h 338"/>
                <a:gd name="T72" fmla="*/ 241 w 250"/>
                <a:gd name="T73" fmla="*/ 170 h 338"/>
                <a:gd name="T74" fmla="*/ 250 w 250"/>
                <a:gd name="T75" fmla="*/ 217 h 338"/>
                <a:gd name="T76" fmla="*/ 250 w 250"/>
                <a:gd name="T77" fmla="*/ 218 h 338"/>
                <a:gd name="T78" fmla="*/ 241 w 250"/>
                <a:gd name="T79" fmla="*/ 264 h 338"/>
                <a:gd name="T80" fmla="*/ 214 w 250"/>
                <a:gd name="T81" fmla="*/ 302 h 338"/>
                <a:gd name="T82" fmla="*/ 175 w 250"/>
                <a:gd name="T83" fmla="*/ 328 h 338"/>
                <a:gd name="T84" fmla="*/ 125 w 250"/>
                <a:gd name="T85" fmla="*/ 33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0" h="338">
                  <a:moveTo>
                    <a:pt x="149" y="0"/>
                  </a:moveTo>
                  <a:lnTo>
                    <a:pt x="205" y="25"/>
                  </a:lnTo>
                  <a:lnTo>
                    <a:pt x="150" y="76"/>
                  </a:lnTo>
                  <a:lnTo>
                    <a:pt x="100" y="76"/>
                  </a:lnTo>
                  <a:lnTo>
                    <a:pt x="149" y="0"/>
                  </a:lnTo>
                  <a:close/>
                  <a:moveTo>
                    <a:pt x="126" y="281"/>
                  </a:moveTo>
                  <a:cubicBezTo>
                    <a:pt x="135" y="281"/>
                    <a:pt x="143" y="280"/>
                    <a:pt x="151" y="276"/>
                  </a:cubicBezTo>
                  <a:cubicBezTo>
                    <a:pt x="158" y="273"/>
                    <a:pt x="164" y="269"/>
                    <a:pt x="169" y="263"/>
                  </a:cubicBezTo>
                  <a:cubicBezTo>
                    <a:pt x="175" y="257"/>
                    <a:pt x="179" y="250"/>
                    <a:pt x="181" y="243"/>
                  </a:cubicBezTo>
                  <a:cubicBezTo>
                    <a:pt x="184" y="235"/>
                    <a:pt x="185" y="227"/>
                    <a:pt x="185" y="218"/>
                  </a:cubicBezTo>
                  <a:lnTo>
                    <a:pt x="185" y="218"/>
                  </a:lnTo>
                  <a:cubicBezTo>
                    <a:pt x="185" y="209"/>
                    <a:pt x="184" y="201"/>
                    <a:pt x="181" y="193"/>
                  </a:cubicBezTo>
                  <a:cubicBezTo>
                    <a:pt x="178" y="186"/>
                    <a:pt x="174" y="179"/>
                    <a:pt x="169" y="173"/>
                  </a:cubicBezTo>
                  <a:cubicBezTo>
                    <a:pt x="163" y="167"/>
                    <a:pt x="157" y="162"/>
                    <a:pt x="149" y="159"/>
                  </a:cubicBezTo>
                  <a:cubicBezTo>
                    <a:pt x="142" y="156"/>
                    <a:pt x="134" y="154"/>
                    <a:pt x="125" y="154"/>
                  </a:cubicBezTo>
                  <a:cubicBezTo>
                    <a:pt x="115" y="154"/>
                    <a:pt x="107" y="155"/>
                    <a:pt x="99" y="159"/>
                  </a:cubicBezTo>
                  <a:cubicBezTo>
                    <a:pt x="92" y="162"/>
                    <a:pt x="86" y="167"/>
                    <a:pt x="81" y="172"/>
                  </a:cubicBezTo>
                  <a:cubicBezTo>
                    <a:pt x="76" y="178"/>
                    <a:pt x="72" y="185"/>
                    <a:pt x="69" y="192"/>
                  </a:cubicBezTo>
                  <a:cubicBezTo>
                    <a:pt x="66" y="200"/>
                    <a:pt x="65" y="208"/>
                    <a:pt x="65" y="217"/>
                  </a:cubicBezTo>
                  <a:lnTo>
                    <a:pt x="65" y="218"/>
                  </a:lnTo>
                  <a:cubicBezTo>
                    <a:pt x="65" y="226"/>
                    <a:pt x="66" y="234"/>
                    <a:pt x="69" y="242"/>
                  </a:cubicBezTo>
                  <a:cubicBezTo>
                    <a:pt x="72" y="250"/>
                    <a:pt x="76" y="256"/>
                    <a:pt x="82" y="262"/>
                  </a:cubicBezTo>
                  <a:cubicBezTo>
                    <a:pt x="87" y="268"/>
                    <a:pt x="93" y="273"/>
                    <a:pt x="101" y="276"/>
                  </a:cubicBezTo>
                  <a:cubicBezTo>
                    <a:pt x="108" y="280"/>
                    <a:pt x="116" y="281"/>
                    <a:pt x="126" y="281"/>
                  </a:cubicBezTo>
                  <a:close/>
                  <a:moveTo>
                    <a:pt x="125" y="338"/>
                  </a:moveTo>
                  <a:cubicBezTo>
                    <a:pt x="107" y="338"/>
                    <a:pt x="90" y="335"/>
                    <a:pt x="75" y="328"/>
                  </a:cubicBezTo>
                  <a:cubicBezTo>
                    <a:pt x="60" y="322"/>
                    <a:pt x="47" y="314"/>
                    <a:pt x="36" y="303"/>
                  </a:cubicBezTo>
                  <a:cubicBezTo>
                    <a:pt x="25" y="292"/>
                    <a:pt x="16" y="280"/>
                    <a:pt x="10" y="265"/>
                  </a:cubicBezTo>
                  <a:cubicBezTo>
                    <a:pt x="3" y="251"/>
                    <a:pt x="0" y="235"/>
                    <a:pt x="0" y="218"/>
                  </a:cubicBezTo>
                  <a:lnTo>
                    <a:pt x="0" y="218"/>
                  </a:lnTo>
                  <a:cubicBezTo>
                    <a:pt x="0" y="201"/>
                    <a:pt x="3" y="185"/>
                    <a:pt x="10" y="171"/>
                  </a:cubicBezTo>
                  <a:cubicBezTo>
                    <a:pt x="16" y="156"/>
                    <a:pt x="25" y="144"/>
                    <a:pt x="36" y="133"/>
                  </a:cubicBezTo>
                  <a:cubicBezTo>
                    <a:pt x="47" y="122"/>
                    <a:pt x="60" y="113"/>
                    <a:pt x="76" y="107"/>
                  </a:cubicBezTo>
                  <a:cubicBezTo>
                    <a:pt x="91" y="101"/>
                    <a:pt x="107" y="97"/>
                    <a:pt x="126" y="97"/>
                  </a:cubicBezTo>
                  <a:cubicBezTo>
                    <a:pt x="143" y="97"/>
                    <a:pt x="160" y="100"/>
                    <a:pt x="175" y="107"/>
                  </a:cubicBezTo>
                  <a:cubicBezTo>
                    <a:pt x="190" y="113"/>
                    <a:pt x="203" y="121"/>
                    <a:pt x="214" y="132"/>
                  </a:cubicBezTo>
                  <a:cubicBezTo>
                    <a:pt x="226" y="143"/>
                    <a:pt x="234" y="155"/>
                    <a:pt x="241" y="170"/>
                  </a:cubicBezTo>
                  <a:cubicBezTo>
                    <a:pt x="247" y="184"/>
                    <a:pt x="250" y="200"/>
                    <a:pt x="250" y="217"/>
                  </a:cubicBezTo>
                  <a:lnTo>
                    <a:pt x="250" y="218"/>
                  </a:lnTo>
                  <a:cubicBezTo>
                    <a:pt x="250" y="234"/>
                    <a:pt x="247" y="250"/>
                    <a:pt x="241" y="264"/>
                  </a:cubicBezTo>
                  <a:cubicBezTo>
                    <a:pt x="234" y="279"/>
                    <a:pt x="225" y="292"/>
                    <a:pt x="214" y="302"/>
                  </a:cubicBezTo>
                  <a:cubicBezTo>
                    <a:pt x="203" y="313"/>
                    <a:pt x="190" y="322"/>
                    <a:pt x="175" y="328"/>
                  </a:cubicBezTo>
                  <a:cubicBezTo>
                    <a:pt x="159" y="335"/>
                    <a:pt x="143" y="338"/>
                    <a:pt x="125" y="3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D46CC115-E3F9-2041-7782-A7F5AFEF1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" y="364"/>
              <a:ext cx="26" cy="30"/>
            </a:xfrm>
            <a:custGeom>
              <a:avLst/>
              <a:gdLst>
                <a:gd name="T0" fmla="*/ 0 w 212"/>
                <a:gd name="T1" fmla="*/ 5 h 236"/>
                <a:gd name="T2" fmla="*/ 66 w 212"/>
                <a:gd name="T3" fmla="*/ 5 h 236"/>
                <a:gd name="T4" fmla="*/ 66 w 212"/>
                <a:gd name="T5" fmla="*/ 38 h 236"/>
                <a:gd name="T6" fmla="*/ 78 w 212"/>
                <a:gd name="T7" fmla="*/ 24 h 236"/>
                <a:gd name="T8" fmla="*/ 93 w 212"/>
                <a:gd name="T9" fmla="*/ 12 h 236"/>
                <a:gd name="T10" fmla="*/ 111 w 212"/>
                <a:gd name="T11" fmla="*/ 3 h 236"/>
                <a:gd name="T12" fmla="*/ 134 w 212"/>
                <a:gd name="T13" fmla="*/ 0 h 236"/>
                <a:gd name="T14" fmla="*/ 191 w 212"/>
                <a:gd name="T15" fmla="*/ 23 h 236"/>
                <a:gd name="T16" fmla="*/ 212 w 212"/>
                <a:gd name="T17" fmla="*/ 86 h 236"/>
                <a:gd name="T18" fmla="*/ 212 w 212"/>
                <a:gd name="T19" fmla="*/ 236 h 236"/>
                <a:gd name="T20" fmla="*/ 146 w 212"/>
                <a:gd name="T21" fmla="*/ 236 h 236"/>
                <a:gd name="T22" fmla="*/ 146 w 212"/>
                <a:gd name="T23" fmla="*/ 107 h 236"/>
                <a:gd name="T24" fmla="*/ 136 w 212"/>
                <a:gd name="T25" fmla="*/ 72 h 236"/>
                <a:gd name="T26" fmla="*/ 107 w 212"/>
                <a:gd name="T27" fmla="*/ 60 h 236"/>
                <a:gd name="T28" fmla="*/ 77 w 212"/>
                <a:gd name="T29" fmla="*/ 72 h 236"/>
                <a:gd name="T30" fmla="*/ 66 w 212"/>
                <a:gd name="T31" fmla="*/ 107 h 236"/>
                <a:gd name="T32" fmla="*/ 66 w 212"/>
                <a:gd name="T33" fmla="*/ 236 h 236"/>
                <a:gd name="T34" fmla="*/ 0 w 212"/>
                <a:gd name="T35" fmla="*/ 236 h 236"/>
                <a:gd name="T36" fmla="*/ 0 w 212"/>
                <a:gd name="T37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2" h="236">
                  <a:moveTo>
                    <a:pt x="0" y="5"/>
                  </a:moveTo>
                  <a:lnTo>
                    <a:pt x="66" y="5"/>
                  </a:lnTo>
                  <a:lnTo>
                    <a:pt x="66" y="38"/>
                  </a:lnTo>
                  <a:cubicBezTo>
                    <a:pt x="70" y="33"/>
                    <a:pt x="74" y="28"/>
                    <a:pt x="78" y="24"/>
                  </a:cubicBezTo>
                  <a:cubicBezTo>
                    <a:pt x="83" y="19"/>
                    <a:pt x="88" y="15"/>
                    <a:pt x="93" y="12"/>
                  </a:cubicBezTo>
                  <a:cubicBezTo>
                    <a:pt x="98" y="8"/>
                    <a:pt x="105" y="5"/>
                    <a:pt x="111" y="3"/>
                  </a:cubicBezTo>
                  <a:cubicBezTo>
                    <a:pt x="118" y="1"/>
                    <a:pt x="125" y="0"/>
                    <a:pt x="134" y="0"/>
                  </a:cubicBezTo>
                  <a:cubicBezTo>
                    <a:pt x="159" y="0"/>
                    <a:pt x="178" y="8"/>
                    <a:pt x="191" y="23"/>
                  </a:cubicBezTo>
                  <a:cubicBezTo>
                    <a:pt x="205" y="38"/>
                    <a:pt x="212" y="59"/>
                    <a:pt x="212" y="86"/>
                  </a:cubicBezTo>
                  <a:lnTo>
                    <a:pt x="212" y="236"/>
                  </a:lnTo>
                  <a:lnTo>
                    <a:pt x="146" y="236"/>
                  </a:lnTo>
                  <a:lnTo>
                    <a:pt x="146" y="107"/>
                  </a:lnTo>
                  <a:cubicBezTo>
                    <a:pt x="146" y="92"/>
                    <a:pt x="143" y="80"/>
                    <a:pt x="136" y="72"/>
                  </a:cubicBezTo>
                  <a:cubicBezTo>
                    <a:pt x="129" y="64"/>
                    <a:pt x="119" y="60"/>
                    <a:pt x="107" y="60"/>
                  </a:cubicBezTo>
                  <a:cubicBezTo>
                    <a:pt x="94" y="60"/>
                    <a:pt x="84" y="64"/>
                    <a:pt x="77" y="72"/>
                  </a:cubicBezTo>
                  <a:cubicBezTo>
                    <a:pt x="70" y="80"/>
                    <a:pt x="66" y="92"/>
                    <a:pt x="66" y="107"/>
                  </a:cubicBezTo>
                  <a:lnTo>
                    <a:pt x="66" y="236"/>
                  </a:lnTo>
                  <a:lnTo>
                    <a:pt x="0" y="236"/>
                  </a:lnTo>
                  <a:lnTo>
                    <a:pt x="0" y="5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D68D701A-4C2A-0888-9983-DFA1385C4E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" y="385"/>
              <a:ext cx="11" cy="18"/>
            </a:xfrm>
            <a:custGeom>
              <a:avLst/>
              <a:gdLst>
                <a:gd name="T0" fmla="*/ 0 w 85"/>
                <a:gd name="T1" fmla="*/ 111 h 138"/>
                <a:gd name="T2" fmla="*/ 42 w 85"/>
                <a:gd name="T3" fmla="*/ 69 h 138"/>
                <a:gd name="T4" fmla="*/ 15 w 85"/>
                <a:gd name="T5" fmla="*/ 69 h 138"/>
                <a:gd name="T6" fmla="*/ 15 w 85"/>
                <a:gd name="T7" fmla="*/ 0 h 138"/>
                <a:gd name="T8" fmla="*/ 85 w 85"/>
                <a:gd name="T9" fmla="*/ 0 h 138"/>
                <a:gd name="T10" fmla="*/ 85 w 85"/>
                <a:gd name="T11" fmla="*/ 58 h 138"/>
                <a:gd name="T12" fmla="*/ 64 w 85"/>
                <a:gd name="T13" fmla="*/ 119 h 138"/>
                <a:gd name="T14" fmla="*/ 5 w 85"/>
                <a:gd name="T15" fmla="*/ 138 h 138"/>
                <a:gd name="T16" fmla="*/ 0 w 85"/>
                <a:gd name="T17" fmla="*/ 111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138">
                  <a:moveTo>
                    <a:pt x="0" y="111"/>
                  </a:moveTo>
                  <a:cubicBezTo>
                    <a:pt x="30" y="108"/>
                    <a:pt x="44" y="94"/>
                    <a:pt x="42" y="69"/>
                  </a:cubicBezTo>
                  <a:lnTo>
                    <a:pt x="15" y="69"/>
                  </a:lnTo>
                  <a:lnTo>
                    <a:pt x="15" y="0"/>
                  </a:lnTo>
                  <a:lnTo>
                    <a:pt x="85" y="0"/>
                  </a:lnTo>
                  <a:lnTo>
                    <a:pt x="85" y="58"/>
                  </a:lnTo>
                  <a:cubicBezTo>
                    <a:pt x="85" y="86"/>
                    <a:pt x="78" y="107"/>
                    <a:pt x="64" y="119"/>
                  </a:cubicBezTo>
                  <a:cubicBezTo>
                    <a:pt x="50" y="132"/>
                    <a:pt x="31" y="138"/>
                    <a:pt x="5" y="138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106A388A-12EF-A777-C795-4448731E7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2" y="414"/>
              <a:ext cx="31" cy="38"/>
            </a:xfrm>
            <a:custGeom>
              <a:avLst/>
              <a:gdLst>
                <a:gd name="T0" fmla="*/ 11 w 31"/>
                <a:gd name="T1" fmla="*/ 7 h 38"/>
                <a:gd name="T2" fmla="*/ 0 w 31"/>
                <a:gd name="T3" fmla="*/ 7 h 38"/>
                <a:gd name="T4" fmla="*/ 0 w 31"/>
                <a:gd name="T5" fmla="*/ 0 h 38"/>
                <a:gd name="T6" fmla="*/ 31 w 31"/>
                <a:gd name="T7" fmla="*/ 0 h 38"/>
                <a:gd name="T8" fmla="*/ 31 w 31"/>
                <a:gd name="T9" fmla="*/ 7 h 38"/>
                <a:gd name="T10" fmla="*/ 19 w 31"/>
                <a:gd name="T11" fmla="*/ 7 h 38"/>
                <a:gd name="T12" fmla="*/ 19 w 31"/>
                <a:gd name="T13" fmla="*/ 38 h 38"/>
                <a:gd name="T14" fmla="*/ 11 w 31"/>
                <a:gd name="T15" fmla="*/ 38 h 38"/>
                <a:gd name="T16" fmla="*/ 11 w 31"/>
                <a:gd name="T17" fmla="*/ 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8">
                  <a:moveTo>
                    <a:pt x="11" y="7"/>
                  </a:moveTo>
                  <a:lnTo>
                    <a:pt x="0" y="7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7"/>
                  </a:lnTo>
                  <a:lnTo>
                    <a:pt x="19" y="7"/>
                  </a:lnTo>
                  <a:lnTo>
                    <a:pt x="19" y="38"/>
                  </a:lnTo>
                  <a:lnTo>
                    <a:pt x="11" y="38"/>
                  </a:lnTo>
                  <a:lnTo>
                    <a:pt x="11" y="7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6AA1ECCD-A047-0D0F-1206-3D9A8234D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8" y="422"/>
              <a:ext cx="17" cy="30"/>
            </a:xfrm>
            <a:custGeom>
              <a:avLst/>
              <a:gdLst>
                <a:gd name="T0" fmla="*/ 0 w 139"/>
                <a:gd name="T1" fmla="*/ 5 h 236"/>
                <a:gd name="T2" fmla="*/ 65 w 139"/>
                <a:gd name="T3" fmla="*/ 5 h 236"/>
                <a:gd name="T4" fmla="*/ 65 w 139"/>
                <a:gd name="T5" fmla="*/ 52 h 236"/>
                <a:gd name="T6" fmla="*/ 92 w 139"/>
                <a:gd name="T7" fmla="*/ 14 h 236"/>
                <a:gd name="T8" fmla="*/ 139 w 139"/>
                <a:gd name="T9" fmla="*/ 1 h 236"/>
                <a:gd name="T10" fmla="*/ 139 w 139"/>
                <a:gd name="T11" fmla="*/ 69 h 236"/>
                <a:gd name="T12" fmla="*/ 136 w 139"/>
                <a:gd name="T13" fmla="*/ 69 h 236"/>
                <a:gd name="T14" fmla="*/ 84 w 139"/>
                <a:gd name="T15" fmla="*/ 89 h 236"/>
                <a:gd name="T16" fmla="*/ 65 w 139"/>
                <a:gd name="T17" fmla="*/ 151 h 236"/>
                <a:gd name="T18" fmla="*/ 65 w 139"/>
                <a:gd name="T19" fmla="*/ 236 h 236"/>
                <a:gd name="T20" fmla="*/ 0 w 139"/>
                <a:gd name="T21" fmla="*/ 236 h 236"/>
                <a:gd name="T22" fmla="*/ 0 w 139"/>
                <a:gd name="T23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236">
                  <a:moveTo>
                    <a:pt x="0" y="5"/>
                  </a:moveTo>
                  <a:lnTo>
                    <a:pt x="65" y="5"/>
                  </a:lnTo>
                  <a:lnTo>
                    <a:pt x="65" y="52"/>
                  </a:lnTo>
                  <a:cubicBezTo>
                    <a:pt x="72" y="36"/>
                    <a:pt x="81" y="23"/>
                    <a:pt x="92" y="14"/>
                  </a:cubicBezTo>
                  <a:cubicBezTo>
                    <a:pt x="104" y="4"/>
                    <a:pt x="119" y="0"/>
                    <a:pt x="139" y="1"/>
                  </a:cubicBezTo>
                  <a:lnTo>
                    <a:pt x="139" y="69"/>
                  </a:lnTo>
                  <a:lnTo>
                    <a:pt x="136" y="69"/>
                  </a:lnTo>
                  <a:cubicBezTo>
                    <a:pt x="114" y="69"/>
                    <a:pt x="97" y="76"/>
                    <a:pt x="84" y="89"/>
                  </a:cubicBezTo>
                  <a:cubicBezTo>
                    <a:pt x="72" y="102"/>
                    <a:pt x="65" y="123"/>
                    <a:pt x="65" y="151"/>
                  </a:cubicBezTo>
                  <a:lnTo>
                    <a:pt x="65" y="236"/>
                  </a:lnTo>
                  <a:lnTo>
                    <a:pt x="0" y="236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1" name="Freeform 33">
              <a:extLst>
                <a:ext uri="{FF2B5EF4-FFF2-40B4-BE49-F238E27FC236}">
                  <a16:creationId xmlns:a16="http://schemas.microsoft.com/office/drawing/2014/main" id="{7D7B68DB-FB68-4A79-038D-5E8820CA27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9" y="422"/>
              <a:ext cx="26" cy="30"/>
            </a:xfrm>
            <a:custGeom>
              <a:avLst/>
              <a:gdLst>
                <a:gd name="T0" fmla="*/ 99 w 213"/>
                <a:gd name="T1" fmla="*/ 192 h 237"/>
                <a:gd name="T2" fmla="*/ 136 w 213"/>
                <a:gd name="T3" fmla="*/ 181 h 237"/>
                <a:gd name="T4" fmla="*/ 150 w 213"/>
                <a:gd name="T5" fmla="*/ 152 h 237"/>
                <a:gd name="T6" fmla="*/ 150 w 213"/>
                <a:gd name="T7" fmla="*/ 140 h 237"/>
                <a:gd name="T8" fmla="*/ 131 w 213"/>
                <a:gd name="T9" fmla="*/ 134 h 237"/>
                <a:gd name="T10" fmla="*/ 109 w 213"/>
                <a:gd name="T11" fmla="*/ 131 h 237"/>
                <a:gd name="T12" fmla="*/ 76 w 213"/>
                <a:gd name="T13" fmla="*/ 140 h 237"/>
                <a:gd name="T14" fmla="*/ 63 w 213"/>
                <a:gd name="T15" fmla="*/ 163 h 237"/>
                <a:gd name="T16" fmla="*/ 63 w 213"/>
                <a:gd name="T17" fmla="*/ 164 h 237"/>
                <a:gd name="T18" fmla="*/ 73 w 213"/>
                <a:gd name="T19" fmla="*/ 185 h 237"/>
                <a:gd name="T20" fmla="*/ 99 w 213"/>
                <a:gd name="T21" fmla="*/ 192 h 237"/>
                <a:gd name="T22" fmla="*/ 79 w 213"/>
                <a:gd name="T23" fmla="*/ 237 h 237"/>
                <a:gd name="T24" fmla="*/ 49 w 213"/>
                <a:gd name="T25" fmla="*/ 233 h 237"/>
                <a:gd name="T26" fmla="*/ 23 w 213"/>
                <a:gd name="T27" fmla="*/ 219 h 237"/>
                <a:gd name="T28" fmla="*/ 6 w 213"/>
                <a:gd name="T29" fmla="*/ 197 h 237"/>
                <a:gd name="T30" fmla="*/ 0 w 213"/>
                <a:gd name="T31" fmla="*/ 167 h 237"/>
                <a:gd name="T32" fmla="*/ 0 w 213"/>
                <a:gd name="T33" fmla="*/ 166 h 237"/>
                <a:gd name="T34" fmla="*/ 7 w 213"/>
                <a:gd name="T35" fmla="*/ 133 h 237"/>
                <a:gd name="T36" fmla="*/ 26 w 213"/>
                <a:gd name="T37" fmla="*/ 110 h 237"/>
                <a:gd name="T38" fmla="*/ 55 w 213"/>
                <a:gd name="T39" fmla="*/ 97 h 237"/>
                <a:gd name="T40" fmla="*/ 93 w 213"/>
                <a:gd name="T41" fmla="*/ 92 h 237"/>
                <a:gd name="T42" fmla="*/ 124 w 213"/>
                <a:gd name="T43" fmla="*/ 95 h 237"/>
                <a:gd name="T44" fmla="*/ 150 w 213"/>
                <a:gd name="T45" fmla="*/ 102 h 237"/>
                <a:gd name="T46" fmla="*/ 150 w 213"/>
                <a:gd name="T47" fmla="*/ 98 h 237"/>
                <a:gd name="T48" fmla="*/ 137 w 213"/>
                <a:gd name="T49" fmla="*/ 66 h 237"/>
                <a:gd name="T50" fmla="*/ 100 w 213"/>
                <a:gd name="T51" fmla="*/ 56 h 237"/>
                <a:gd name="T52" fmla="*/ 67 w 213"/>
                <a:gd name="T53" fmla="*/ 59 h 237"/>
                <a:gd name="T54" fmla="*/ 36 w 213"/>
                <a:gd name="T55" fmla="*/ 68 h 237"/>
                <a:gd name="T56" fmla="*/ 20 w 213"/>
                <a:gd name="T57" fmla="*/ 18 h 237"/>
                <a:gd name="T58" fmla="*/ 60 w 213"/>
                <a:gd name="T59" fmla="*/ 5 h 237"/>
                <a:gd name="T60" fmla="*/ 110 w 213"/>
                <a:gd name="T61" fmla="*/ 0 h 237"/>
                <a:gd name="T62" fmla="*/ 156 w 213"/>
                <a:gd name="T63" fmla="*/ 6 h 237"/>
                <a:gd name="T64" fmla="*/ 188 w 213"/>
                <a:gd name="T65" fmla="*/ 26 h 237"/>
                <a:gd name="T66" fmla="*/ 206 w 213"/>
                <a:gd name="T67" fmla="*/ 57 h 237"/>
                <a:gd name="T68" fmla="*/ 213 w 213"/>
                <a:gd name="T69" fmla="*/ 99 h 237"/>
                <a:gd name="T70" fmla="*/ 213 w 213"/>
                <a:gd name="T71" fmla="*/ 233 h 237"/>
                <a:gd name="T72" fmla="*/ 149 w 213"/>
                <a:gd name="T73" fmla="*/ 233 h 237"/>
                <a:gd name="T74" fmla="*/ 149 w 213"/>
                <a:gd name="T75" fmla="*/ 208 h 237"/>
                <a:gd name="T76" fmla="*/ 120 w 213"/>
                <a:gd name="T77" fmla="*/ 230 h 237"/>
                <a:gd name="T78" fmla="*/ 79 w 213"/>
                <a:gd name="T79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3" h="237">
                  <a:moveTo>
                    <a:pt x="99" y="192"/>
                  </a:moveTo>
                  <a:cubicBezTo>
                    <a:pt x="115" y="192"/>
                    <a:pt x="127" y="189"/>
                    <a:pt x="136" y="181"/>
                  </a:cubicBezTo>
                  <a:cubicBezTo>
                    <a:pt x="146" y="174"/>
                    <a:pt x="150" y="164"/>
                    <a:pt x="150" y="152"/>
                  </a:cubicBezTo>
                  <a:lnTo>
                    <a:pt x="150" y="140"/>
                  </a:lnTo>
                  <a:cubicBezTo>
                    <a:pt x="145" y="138"/>
                    <a:pt x="138" y="135"/>
                    <a:pt x="131" y="134"/>
                  </a:cubicBezTo>
                  <a:cubicBezTo>
                    <a:pt x="124" y="132"/>
                    <a:pt x="117" y="131"/>
                    <a:pt x="109" y="131"/>
                  </a:cubicBezTo>
                  <a:cubicBezTo>
                    <a:pt x="95" y="131"/>
                    <a:pt x="84" y="134"/>
                    <a:pt x="76" y="140"/>
                  </a:cubicBezTo>
                  <a:cubicBezTo>
                    <a:pt x="67" y="145"/>
                    <a:pt x="63" y="153"/>
                    <a:pt x="63" y="163"/>
                  </a:cubicBezTo>
                  <a:lnTo>
                    <a:pt x="63" y="164"/>
                  </a:lnTo>
                  <a:cubicBezTo>
                    <a:pt x="63" y="173"/>
                    <a:pt x="67" y="180"/>
                    <a:pt x="73" y="185"/>
                  </a:cubicBezTo>
                  <a:cubicBezTo>
                    <a:pt x="80" y="190"/>
                    <a:pt x="89" y="192"/>
                    <a:pt x="99" y="192"/>
                  </a:cubicBezTo>
                  <a:close/>
                  <a:moveTo>
                    <a:pt x="79" y="237"/>
                  </a:moveTo>
                  <a:cubicBezTo>
                    <a:pt x="68" y="237"/>
                    <a:pt x="58" y="236"/>
                    <a:pt x="49" y="233"/>
                  </a:cubicBezTo>
                  <a:cubicBezTo>
                    <a:pt x="39" y="230"/>
                    <a:pt x="31" y="225"/>
                    <a:pt x="23" y="219"/>
                  </a:cubicBezTo>
                  <a:cubicBezTo>
                    <a:pt x="16" y="213"/>
                    <a:pt x="11" y="206"/>
                    <a:pt x="6" y="197"/>
                  </a:cubicBezTo>
                  <a:cubicBezTo>
                    <a:pt x="2" y="188"/>
                    <a:pt x="0" y="178"/>
                    <a:pt x="0" y="167"/>
                  </a:cubicBezTo>
                  <a:lnTo>
                    <a:pt x="0" y="166"/>
                  </a:lnTo>
                  <a:cubicBezTo>
                    <a:pt x="0" y="153"/>
                    <a:pt x="2" y="142"/>
                    <a:pt x="7" y="133"/>
                  </a:cubicBezTo>
                  <a:cubicBezTo>
                    <a:pt x="12" y="124"/>
                    <a:pt x="18" y="116"/>
                    <a:pt x="26" y="110"/>
                  </a:cubicBezTo>
                  <a:cubicBezTo>
                    <a:pt x="34" y="104"/>
                    <a:pt x="44" y="100"/>
                    <a:pt x="55" y="97"/>
                  </a:cubicBezTo>
                  <a:cubicBezTo>
                    <a:pt x="67" y="94"/>
                    <a:pt x="79" y="92"/>
                    <a:pt x="93" y="92"/>
                  </a:cubicBezTo>
                  <a:cubicBezTo>
                    <a:pt x="105" y="92"/>
                    <a:pt x="115" y="93"/>
                    <a:pt x="124" y="95"/>
                  </a:cubicBezTo>
                  <a:cubicBezTo>
                    <a:pt x="133" y="97"/>
                    <a:pt x="141" y="99"/>
                    <a:pt x="150" y="102"/>
                  </a:cubicBezTo>
                  <a:lnTo>
                    <a:pt x="150" y="98"/>
                  </a:lnTo>
                  <a:cubicBezTo>
                    <a:pt x="150" y="84"/>
                    <a:pt x="145" y="74"/>
                    <a:pt x="137" y="66"/>
                  </a:cubicBezTo>
                  <a:cubicBezTo>
                    <a:pt x="129" y="59"/>
                    <a:pt x="116" y="56"/>
                    <a:pt x="100" y="56"/>
                  </a:cubicBezTo>
                  <a:cubicBezTo>
                    <a:pt x="87" y="56"/>
                    <a:pt x="76" y="57"/>
                    <a:pt x="67" y="59"/>
                  </a:cubicBezTo>
                  <a:cubicBezTo>
                    <a:pt x="57" y="61"/>
                    <a:pt x="47" y="64"/>
                    <a:pt x="36" y="68"/>
                  </a:cubicBezTo>
                  <a:lnTo>
                    <a:pt x="20" y="18"/>
                  </a:lnTo>
                  <a:cubicBezTo>
                    <a:pt x="33" y="13"/>
                    <a:pt x="46" y="8"/>
                    <a:pt x="60" y="5"/>
                  </a:cubicBezTo>
                  <a:cubicBezTo>
                    <a:pt x="73" y="1"/>
                    <a:pt x="90" y="0"/>
                    <a:pt x="110" y="0"/>
                  </a:cubicBezTo>
                  <a:cubicBezTo>
                    <a:pt x="128" y="0"/>
                    <a:pt x="143" y="2"/>
                    <a:pt x="156" y="6"/>
                  </a:cubicBezTo>
                  <a:cubicBezTo>
                    <a:pt x="169" y="11"/>
                    <a:pt x="179" y="17"/>
                    <a:pt x="188" y="26"/>
                  </a:cubicBezTo>
                  <a:cubicBezTo>
                    <a:pt x="196" y="34"/>
                    <a:pt x="202" y="45"/>
                    <a:pt x="206" y="57"/>
                  </a:cubicBezTo>
                  <a:cubicBezTo>
                    <a:pt x="211" y="70"/>
                    <a:pt x="213" y="84"/>
                    <a:pt x="213" y="99"/>
                  </a:cubicBezTo>
                  <a:lnTo>
                    <a:pt x="213" y="233"/>
                  </a:lnTo>
                  <a:lnTo>
                    <a:pt x="149" y="233"/>
                  </a:lnTo>
                  <a:lnTo>
                    <a:pt x="149" y="208"/>
                  </a:lnTo>
                  <a:cubicBezTo>
                    <a:pt x="141" y="217"/>
                    <a:pt x="132" y="224"/>
                    <a:pt x="120" y="230"/>
                  </a:cubicBezTo>
                  <a:cubicBezTo>
                    <a:pt x="109" y="235"/>
                    <a:pt x="95" y="237"/>
                    <a:pt x="79" y="237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2" name="Freeform 34">
              <a:extLst>
                <a:ext uri="{FF2B5EF4-FFF2-40B4-BE49-F238E27FC236}">
                  <a16:creationId xmlns:a16="http://schemas.microsoft.com/office/drawing/2014/main" id="{E65E9FF8-162E-51C7-870F-BDA4B401C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2" y="422"/>
              <a:ext cx="26" cy="30"/>
            </a:xfrm>
            <a:custGeom>
              <a:avLst/>
              <a:gdLst>
                <a:gd name="T0" fmla="*/ 0 w 211"/>
                <a:gd name="T1" fmla="*/ 4 h 235"/>
                <a:gd name="T2" fmla="*/ 65 w 211"/>
                <a:gd name="T3" fmla="*/ 4 h 235"/>
                <a:gd name="T4" fmla="*/ 65 w 211"/>
                <a:gd name="T5" fmla="*/ 37 h 235"/>
                <a:gd name="T6" fmla="*/ 78 w 211"/>
                <a:gd name="T7" fmla="*/ 23 h 235"/>
                <a:gd name="T8" fmla="*/ 93 w 211"/>
                <a:gd name="T9" fmla="*/ 11 h 235"/>
                <a:gd name="T10" fmla="*/ 111 w 211"/>
                <a:gd name="T11" fmla="*/ 3 h 235"/>
                <a:gd name="T12" fmla="*/ 133 w 211"/>
                <a:gd name="T13" fmla="*/ 0 h 235"/>
                <a:gd name="T14" fmla="*/ 191 w 211"/>
                <a:gd name="T15" fmla="*/ 23 h 235"/>
                <a:gd name="T16" fmla="*/ 211 w 211"/>
                <a:gd name="T17" fmla="*/ 86 h 235"/>
                <a:gd name="T18" fmla="*/ 211 w 211"/>
                <a:gd name="T19" fmla="*/ 235 h 235"/>
                <a:gd name="T20" fmla="*/ 146 w 211"/>
                <a:gd name="T21" fmla="*/ 235 h 235"/>
                <a:gd name="T22" fmla="*/ 146 w 211"/>
                <a:gd name="T23" fmla="*/ 107 h 235"/>
                <a:gd name="T24" fmla="*/ 136 w 211"/>
                <a:gd name="T25" fmla="*/ 72 h 235"/>
                <a:gd name="T26" fmla="*/ 106 w 211"/>
                <a:gd name="T27" fmla="*/ 60 h 235"/>
                <a:gd name="T28" fmla="*/ 76 w 211"/>
                <a:gd name="T29" fmla="*/ 72 h 235"/>
                <a:gd name="T30" fmla="*/ 65 w 211"/>
                <a:gd name="T31" fmla="*/ 107 h 235"/>
                <a:gd name="T32" fmla="*/ 65 w 211"/>
                <a:gd name="T33" fmla="*/ 235 h 235"/>
                <a:gd name="T34" fmla="*/ 0 w 211"/>
                <a:gd name="T35" fmla="*/ 235 h 235"/>
                <a:gd name="T36" fmla="*/ 0 w 211"/>
                <a:gd name="T37" fmla="*/ 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1" h="235">
                  <a:moveTo>
                    <a:pt x="0" y="4"/>
                  </a:moveTo>
                  <a:lnTo>
                    <a:pt x="65" y="4"/>
                  </a:lnTo>
                  <a:lnTo>
                    <a:pt x="65" y="37"/>
                  </a:lnTo>
                  <a:cubicBezTo>
                    <a:pt x="69" y="32"/>
                    <a:pt x="73" y="28"/>
                    <a:pt x="78" y="23"/>
                  </a:cubicBezTo>
                  <a:cubicBezTo>
                    <a:pt x="82" y="19"/>
                    <a:pt x="87" y="15"/>
                    <a:pt x="93" y="11"/>
                  </a:cubicBezTo>
                  <a:cubicBezTo>
                    <a:pt x="98" y="8"/>
                    <a:pt x="104" y="5"/>
                    <a:pt x="111" y="3"/>
                  </a:cubicBezTo>
                  <a:cubicBezTo>
                    <a:pt x="117" y="1"/>
                    <a:pt x="125" y="0"/>
                    <a:pt x="133" y="0"/>
                  </a:cubicBezTo>
                  <a:cubicBezTo>
                    <a:pt x="158" y="0"/>
                    <a:pt x="177" y="8"/>
                    <a:pt x="191" y="23"/>
                  </a:cubicBezTo>
                  <a:cubicBezTo>
                    <a:pt x="205" y="38"/>
                    <a:pt x="211" y="59"/>
                    <a:pt x="211" y="86"/>
                  </a:cubicBezTo>
                  <a:lnTo>
                    <a:pt x="211" y="235"/>
                  </a:lnTo>
                  <a:lnTo>
                    <a:pt x="146" y="235"/>
                  </a:lnTo>
                  <a:lnTo>
                    <a:pt x="146" y="107"/>
                  </a:lnTo>
                  <a:cubicBezTo>
                    <a:pt x="146" y="91"/>
                    <a:pt x="143" y="80"/>
                    <a:pt x="136" y="72"/>
                  </a:cubicBezTo>
                  <a:cubicBezTo>
                    <a:pt x="129" y="64"/>
                    <a:pt x="119" y="60"/>
                    <a:pt x="106" y="60"/>
                  </a:cubicBezTo>
                  <a:cubicBezTo>
                    <a:pt x="94" y="60"/>
                    <a:pt x="84" y="64"/>
                    <a:pt x="76" y="72"/>
                  </a:cubicBezTo>
                  <a:cubicBezTo>
                    <a:pt x="69" y="80"/>
                    <a:pt x="65" y="91"/>
                    <a:pt x="65" y="107"/>
                  </a:cubicBezTo>
                  <a:lnTo>
                    <a:pt x="65" y="235"/>
                  </a:lnTo>
                  <a:lnTo>
                    <a:pt x="0" y="235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3" name="Freeform 35">
              <a:extLst>
                <a:ext uri="{FF2B5EF4-FFF2-40B4-BE49-F238E27FC236}">
                  <a16:creationId xmlns:a16="http://schemas.microsoft.com/office/drawing/2014/main" id="{4CF5E5DE-3578-CD07-6ED5-E80331F4A5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3" y="422"/>
              <a:ext cx="23" cy="30"/>
            </a:xfrm>
            <a:custGeom>
              <a:avLst/>
              <a:gdLst>
                <a:gd name="T0" fmla="*/ 99 w 188"/>
                <a:gd name="T1" fmla="*/ 238 h 238"/>
                <a:gd name="T2" fmla="*/ 49 w 188"/>
                <a:gd name="T3" fmla="*/ 230 h 238"/>
                <a:gd name="T4" fmla="*/ 0 w 188"/>
                <a:gd name="T5" fmla="*/ 204 h 238"/>
                <a:gd name="T6" fmla="*/ 28 w 188"/>
                <a:gd name="T7" fmla="*/ 161 h 238"/>
                <a:gd name="T8" fmla="*/ 66 w 188"/>
                <a:gd name="T9" fmla="*/ 181 h 238"/>
                <a:gd name="T10" fmla="*/ 101 w 188"/>
                <a:gd name="T11" fmla="*/ 188 h 238"/>
                <a:gd name="T12" fmla="*/ 122 w 188"/>
                <a:gd name="T13" fmla="*/ 183 h 238"/>
                <a:gd name="T14" fmla="*/ 129 w 188"/>
                <a:gd name="T15" fmla="*/ 171 h 238"/>
                <a:gd name="T16" fmla="*/ 129 w 188"/>
                <a:gd name="T17" fmla="*/ 170 h 238"/>
                <a:gd name="T18" fmla="*/ 125 w 188"/>
                <a:gd name="T19" fmla="*/ 161 h 238"/>
                <a:gd name="T20" fmla="*/ 114 w 188"/>
                <a:gd name="T21" fmla="*/ 154 h 238"/>
                <a:gd name="T22" fmla="*/ 99 w 188"/>
                <a:gd name="T23" fmla="*/ 149 h 238"/>
                <a:gd name="T24" fmla="*/ 81 w 188"/>
                <a:gd name="T25" fmla="*/ 143 h 238"/>
                <a:gd name="T26" fmla="*/ 56 w 188"/>
                <a:gd name="T27" fmla="*/ 135 h 238"/>
                <a:gd name="T28" fmla="*/ 34 w 188"/>
                <a:gd name="T29" fmla="*/ 122 h 238"/>
                <a:gd name="T30" fmla="*/ 18 w 188"/>
                <a:gd name="T31" fmla="*/ 102 h 238"/>
                <a:gd name="T32" fmla="*/ 12 w 188"/>
                <a:gd name="T33" fmla="*/ 74 h 238"/>
                <a:gd name="T34" fmla="*/ 12 w 188"/>
                <a:gd name="T35" fmla="*/ 73 h 238"/>
                <a:gd name="T36" fmla="*/ 19 w 188"/>
                <a:gd name="T37" fmla="*/ 42 h 238"/>
                <a:gd name="T38" fmla="*/ 37 w 188"/>
                <a:gd name="T39" fmla="*/ 19 h 238"/>
                <a:gd name="T40" fmla="*/ 63 w 188"/>
                <a:gd name="T41" fmla="*/ 5 h 238"/>
                <a:gd name="T42" fmla="*/ 96 w 188"/>
                <a:gd name="T43" fmla="*/ 0 h 238"/>
                <a:gd name="T44" fmla="*/ 141 w 188"/>
                <a:gd name="T45" fmla="*/ 7 h 238"/>
                <a:gd name="T46" fmla="*/ 182 w 188"/>
                <a:gd name="T47" fmla="*/ 27 h 238"/>
                <a:gd name="T48" fmla="*/ 158 w 188"/>
                <a:gd name="T49" fmla="*/ 72 h 238"/>
                <a:gd name="T50" fmla="*/ 124 w 188"/>
                <a:gd name="T51" fmla="*/ 56 h 238"/>
                <a:gd name="T52" fmla="*/ 95 w 188"/>
                <a:gd name="T53" fmla="*/ 50 h 238"/>
                <a:gd name="T54" fmla="*/ 77 w 188"/>
                <a:gd name="T55" fmla="*/ 55 h 238"/>
                <a:gd name="T56" fmla="*/ 71 w 188"/>
                <a:gd name="T57" fmla="*/ 66 h 238"/>
                <a:gd name="T58" fmla="*/ 71 w 188"/>
                <a:gd name="T59" fmla="*/ 67 h 238"/>
                <a:gd name="T60" fmla="*/ 75 w 188"/>
                <a:gd name="T61" fmla="*/ 75 h 238"/>
                <a:gd name="T62" fmla="*/ 85 w 188"/>
                <a:gd name="T63" fmla="*/ 82 h 238"/>
                <a:gd name="T64" fmla="*/ 100 w 188"/>
                <a:gd name="T65" fmla="*/ 89 h 238"/>
                <a:gd name="T66" fmla="*/ 118 w 188"/>
                <a:gd name="T67" fmla="*/ 95 h 238"/>
                <a:gd name="T68" fmla="*/ 142 w 188"/>
                <a:gd name="T69" fmla="*/ 104 h 238"/>
                <a:gd name="T70" fmla="*/ 165 w 188"/>
                <a:gd name="T71" fmla="*/ 117 h 238"/>
                <a:gd name="T72" fmla="*/ 181 w 188"/>
                <a:gd name="T73" fmla="*/ 136 h 238"/>
                <a:gd name="T74" fmla="*/ 188 w 188"/>
                <a:gd name="T75" fmla="*/ 163 h 238"/>
                <a:gd name="T76" fmla="*/ 188 w 188"/>
                <a:gd name="T77" fmla="*/ 164 h 238"/>
                <a:gd name="T78" fmla="*/ 181 w 188"/>
                <a:gd name="T79" fmla="*/ 197 h 238"/>
                <a:gd name="T80" fmla="*/ 162 w 188"/>
                <a:gd name="T81" fmla="*/ 220 h 238"/>
                <a:gd name="T82" fmla="*/ 134 w 188"/>
                <a:gd name="T83" fmla="*/ 234 h 238"/>
                <a:gd name="T84" fmla="*/ 99 w 188"/>
                <a:gd name="T85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8" h="238">
                  <a:moveTo>
                    <a:pt x="99" y="238"/>
                  </a:moveTo>
                  <a:cubicBezTo>
                    <a:pt x="83" y="238"/>
                    <a:pt x="66" y="236"/>
                    <a:pt x="49" y="230"/>
                  </a:cubicBezTo>
                  <a:cubicBezTo>
                    <a:pt x="32" y="224"/>
                    <a:pt x="16" y="216"/>
                    <a:pt x="0" y="204"/>
                  </a:cubicBezTo>
                  <a:lnTo>
                    <a:pt x="28" y="161"/>
                  </a:lnTo>
                  <a:cubicBezTo>
                    <a:pt x="41" y="170"/>
                    <a:pt x="53" y="177"/>
                    <a:pt x="66" y="181"/>
                  </a:cubicBezTo>
                  <a:cubicBezTo>
                    <a:pt x="78" y="186"/>
                    <a:pt x="90" y="188"/>
                    <a:pt x="101" y="188"/>
                  </a:cubicBezTo>
                  <a:cubicBezTo>
                    <a:pt x="111" y="188"/>
                    <a:pt x="118" y="186"/>
                    <a:pt x="122" y="183"/>
                  </a:cubicBezTo>
                  <a:cubicBezTo>
                    <a:pt x="126" y="180"/>
                    <a:pt x="129" y="176"/>
                    <a:pt x="129" y="171"/>
                  </a:cubicBezTo>
                  <a:lnTo>
                    <a:pt x="129" y="170"/>
                  </a:lnTo>
                  <a:cubicBezTo>
                    <a:pt x="129" y="167"/>
                    <a:pt x="127" y="164"/>
                    <a:pt x="125" y="161"/>
                  </a:cubicBezTo>
                  <a:cubicBezTo>
                    <a:pt x="122" y="158"/>
                    <a:pt x="119" y="156"/>
                    <a:pt x="114" y="154"/>
                  </a:cubicBezTo>
                  <a:cubicBezTo>
                    <a:pt x="110" y="152"/>
                    <a:pt x="105" y="151"/>
                    <a:pt x="99" y="149"/>
                  </a:cubicBezTo>
                  <a:cubicBezTo>
                    <a:pt x="93" y="147"/>
                    <a:pt x="87" y="145"/>
                    <a:pt x="81" y="143"/>
                  </a:cubicBezTo>
                  <a:cubicBezTo>
                    <a:pt x="73" y="141"/>
                    <a:pt x="65" y="138"/>
                    <a:pt x="56" y="135"/>
                  </a:cubicBezTo>
                  <a:cubicBezTo>
                    <a:pt x="48" y="132"/>
                    <a:pt x="41" y="127"/>
                    <a:pt x="34" y="122"/>
                  </a:cubicBezTo>
                  <a:cubicBezTo>
                    <a:pt x="28" y="117"/>
                    <a:pt x="22" y="110"/>
                    <a:pt x="18" y="102"/>
                  </a:cubicBezTo>
                  <a:cubicBezTo>
                    <a:pt x="14" y="95"/>
                    <a:pt x="12" y="85"/>
                    <a:pt x="12" y="74"/>
                  </a:cubicBezTo>
                  <a:lnTo>
                    <a:pt x="12" y="73"/>
                  </a:lnTo>
                  <a:cubicBezTo>
                    <a:pt x="12" y="61"/>
                    <a:pt x="14" y="51"/>
                    <a:pt x="19" y="42"/>
                  </a:cubicBezTo>
                  <a:cubicBezTo>
                    <a:pt x="23" y="33"/>
                    <a:pt x="29" y="25"/>
                    <a:pt x="37" y="19"/>
                  </a:cubicBezTo>
                  <a:cubicBezTo>
                    <a:pt x="44" y="12"/>
                    <a:pt x="53" y="8"/>
                    <a:pt x="63" y="5"/>
                  </a:cubicBezTo>
                  <a:cubicBezTo>
                    <a:pt x="74" y="1"/>
                    <a:pt x="85" y="0"/>
                    <a:pt x="96" y="0"/>
                  </a:cubicBezTo>
                  <a:cubicBezTo>
                    <a:pt x="111" y="0"/>
                    <a:pt x="126" y="2"/>
                    <a:pt x="141" y="7"/>
                  </a:cubicBezTo>
                  <a:cubicBezTo>
                    <a:pt x="156" y="12"/>
                    <a:pt x="170" y="18"/>
                    <a:pt x="182" y="27"/>
                  </a:cubicBezTo>
                  <a:lnTo>
                    <a:pt x="158" y="72"/>
                  </a:lnTo>
                  <a:cubicBezTo>
                    <a:pt x="146" y="65"/>
                    <a:pt x="135" y="60"/>
                    <a:pt x="124" y="56"/>
                  </a:cubicBezTo>
                  <a:cubicBezTo>
                    <a:pt x="113" y="52"/>
                    <a:pt x="103" y="50"/>
                    <a:pt x="95" y="50"/>
                  </a:cubicBezTo>
                  <a:cubicBezTo>
                    <a:pt x="87" y="50"/>
                    <a:pt x="81" y="52"/>
                    <a:pt x="77" y="55"/>
                  </a:cubicBezTo>
                  <a:cubicBezTo>
                    <a:pt x="73" y="58"/>
                    <a:pt x="71" y="62"/>
                    <a:pt x="71" y="66"/>
                  </a:cubicBezTo>
                  <a:lnTo>
                    <a:pt x="71" y="67"/>
                  </a:lnTo>
                  <a:cubicBezTo>
                    <a:pt x="71" y="70"/>
                    <a:pt x="72" y="73"/>
                    <a:pt x="75" y="75"/>
                  </a:cubicBezTo>
                  <a:cubicBezTo>
                    <a:pt x="77" y="78"/>
                    <a:pt x="81" y="80"/>
                    <a:pt x="85" y="82"/>
                  </a:cubicBezTo>
                  <a:cubicBezTo>
                    <a:pt x="89" y="84"/>
                    <a:pt x="94" y="87"/>
                    <a:pt x="100" y="89"/>
                  </a:cubicBezTo>
                  <a:cubicBezTo>
                    <a:pt x="106" y="91"/>
                    <a:pt x="112" y="93"/>
                    <a:pt x="118" y="95"/>
                  </a:cubicBezTo>
                  <a:cubicBezTo>
                    <a:pt x="126" y="97"/>
                    <a:pt x="134" y="100"/>
                    <a:pt x="142" y="104"/>
                  </a:cubicBezTo>
                  <a:cubicBezTo>
                    <a:pt x="151" y="107"/>
                    <a:pt x="158" y="112"/>
                    <a:pt x="165" y="117"/>
                  </a:cubicBezTo>
                  <a:cubicBezTo>
                    <a:pt x="171" y="122"/>
                    <a:pt x="177" y="128"/>
                    <a:pt x="181" y="136"/>
                  </a:cubicBezTo>
                  <a:cubicBezTo>
                    <a:pt x="186" y="143"/>
                    <a:pt x="188" y="152"/>
                    <a:pt x="188" y="163"/>
                  </a:cubicBezTo>
                  <a:lnTo>
                    <a:pt x="188" y="164"/>
                  </a:lnTo>
                  <a:cubicBezTo>
                    <a:pt x="188" y="177"/>
                    <a:pt x="185" y="188"/>
                    <a:pt x="181" y="197"/>
                  </a:cubicBezTo>
                  <a:cubicBezTo>
                    <a:pt x="177" y="207"/>
                    <a:pt x="170" y="214"/>
                    <a:pt x="162" y="220"/>
                  </a:cubicBezTo>
                  <a:cubicBezTo>
                    <a:pt x="154" y="226"/>
                    <a:pt x="145" y="231"/>
                    <a:pt x="134" y="234"/>
                  </a:cubicBezTo>
                  <a:cubicBezTo>
                    <a:pt x="123" y="237"/>
                    <a:pt x="112" y="238"/>
                    <a:pt x="99" y="2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4" name="Freeform 36">
              <a:extLst>
                <a:ext uri="{FF2B5EF4-FFF2-40B4-BE49-F238E27FC236}">
                  <a16:creationId xmlns:a16="http://schemas.microsoft.com/office/drawing/2014/main" id="{586DCCB3-AB7E-5A3E-5A8B-6C48F46EF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" y="411"/>
              <a:ext cx="18" cy="41"/>
            </a:xfrm>
            <a:custGeom>
              <a:avLst/>
              <a:gdLst>
                <a:gd name="T0" fmla="*/ 27 w 145"/>
                <a:gd name="T1" fmla="*/ 142 h 317"/>
                <a:gd name="T2" fmla="*/ 0 w 145"/>
                <a:gd name="T3" fmla="*/ 142 h 317"/>
                <a:gd name="T4" fmla="*/ 0 w 145"/>
                <a:gd name="T5" fmla="*/ 88 h 317"/>
                <a:gd name="T6" fmla="*/ 27 w 145"/>
                <a:gd name="T7" fmla="*/ 88 h 317"/>
                <a:gd name="T8" fmla="*/ 27 w 145"/>
                <a:gd name="T9" fmla="*/ 74 h 317"/>
                <a:gd name="T10" fmla="*/ 45 w 145"/>
                <a:gd name="T11" fmla="*/ 18 h 317"/>
                <a:gd name="T12" fmla="*/ 98 w 145"/>
                <a:gd name="T13" fmla="*/ 0 h 317"/>
                <a:gd name="T14" fmla="*/ 125 w 145"/>
                <a:gd name="T15" fmla="*/ 1 h 317"/>
                <a:gd name="T16" fmla="*/ 145 w 145"/>
                <a:gd name="T17" fmla="*/ 6 h 317"/>
                <a:gd name="T18" fmla="*/ 145 w 145"/>
                <a:gd name="T19" fmla="*/ 60 h 317"/>
                <a:gd name="T20" fmla="*/ 131 w 145"/>
                <a:gd name="T21" fmla="*/ 56 h 317"/>
                <a:gd name="T22" fmla="*/ 115 w 145"/>
                <a:gd name="T23" fmla="*/ 55 h 317"/>
                <a:gd name="T24" fmla="*/ 91 w 145"/>
                <a:gd name="T25" fmla="*/ 80 h 317"/>
                <a:gd name="T26" fmla="*/ 91 w 145"/>
                <a:gd name="T27" fmla="*/ 89 h 317"/>
                <a:gd name="T28" fmla="*/ 144 w 145"/>
                <a:gd name="T29" fmla="*/ 89 h 317"/>
                <a:gd name="T30" fmla="*/ 144 w 145"/>
                <a:gd name="T31" fmla="*/ 142 h 317"/>
                <a:gd name="T32" fmla="*/ 92 w 145"/>
                <a:gd name="T33" fmla="*/ 142 h 317"/>
                <a:gd name="T34" fmla="*/ 92 w 145"/>
                <a:gd name="T35" fmla="*/ 317 h 317"/>
                <a:gd name="T36" fmla="*/ 27 w 145"/>
                <a:gd name="T37" fmla="*/ 317 h 317"/>
                <a:gd name="T38" fmla="*/ 27 w 145"/>
                <a:gd name="T39" fmla="*/ 142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5" h="317">
                  <a:moveTo>
                    <a:pt x="27" y="142"/>
                  </a:moveTo>
                  <a:lnTo>
                    <a:pt x="0" y="142"/>
                  </a:lnTo>
                  <a:lnTo>
                    <a:pt x="0" y="88"/>
                  </a:lnTo>
                  <a:lnTo>
                    <a:pt x="27" y="88"/>
                  </a:lnTo>
                  <a:lnTo>
                    <a:pt x="27" y="74"/>
                  </a:lnTo>
                  <a:cubicBezTo>
                    <a:pt x="27" y="49"/>
                    <a:pt x="33" y="30"/>
                    <a:pt x="45" y="18"/>
                  </a:cubicBezTo>
                  <a:cubicBezTo>
                    <a:pt x="57" y="6"/>
                    <a:pt x="75" y="0"/>
                    <a:pt x="98" y="0"/>
                  </a:cubicBezTo>
                  <a:cubicBezTo>
                    <a:pt x="109" y="0"/>
                    <a:pt x="118" y="0"/>
                    <a:pt x="125" y="1"/>
                  </a:cubicBezTo>
                  <a:cubicBezTo>
                    <a:pt x="132" y="3"/>
                    <a:pt x="139" y="4"/>
                    <a:pt x="145" y="6"/>
                  </a:cubicBezTo>
                  <a:lnTo>
                    <a:pt x="145" y="60"/>
                  </a:lnTo>
                  <a:cubicBezTo>
                    <a:pt x="140" y="59"/>
                    <a:pt x="135" y="57"/>
                    <a:pt x="131" y="56"/>
                  </a:cubicBezTo>
                  <a:cubicBezTo>
                    <a:pt x="126" y="55"/>
                    <a:pt x="121" y="55"/>
                    <a:pt x="115" y="55"/>
                  </a:cubicBezTo>
                  <a:cubicBezTo>
                    <a:pt x="99" y="55"/>
                    <a:pt x="91" y="63"/>
                    <a:pt x="91" y="80"/>
                  </a:cubicBezTo>
                  <a:lnTo>
                    <a:pt x="91" y="89"/>
                  </a:lnTo>
                  <a:lnTo>
                    <a:pt x="144" y="89"/>
                  </a:lnTo>
                  <a:lnTo>
                    <a:pt x="144" y="142"/>
                  </a:lnTo>
                  <a:lnTo>
                    <a:pt x="92" y="142"/>
                  </a:lnTo>
                  <a:lnTo>
                    <a:pt x="92" y="317"/>
                  </a:lnTo>
                  <a:lnTo>
                    <a:pt x="27" y="317"/>
                  </a:lnTo>
                  <a:lnTo>
                    <a:pt x="27" y="142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5" name="Freeform 37">
              <a:extLst>
                <a:ext uri="{FF2B5EF4-FFF2-40B4-BE49-F238E27FC236}">
                  <a16:creationId xmlns:a16="http://schemas.microsoft.com/office/drawing/2014/main" id="{6E552106-84ED-7895-FFD5-4442331145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1" y="422"/>
              <a:ext cx="31" cy="31"/>
            </a:xfrm>
            <a:custGeom>
              <a:avLst/>
              <a:gdLst>
                <a:gd name="T0" fmla="*/ 125 w 250"/>
                <a:gd name="T1" fmla="*/ 184 h 240"/>
                <a:gd name="T2" fmla="*/ 151 w 250"/>
                <a:gd name="T3" fmla="*/ 179 h 240"/>
                <a:gd name="T4" fmla="*/ 169 w 250"/>
                <a:gd name="T5" fmla="*/ 165 h 240"/>
                <a:gd name="T6" fmla="*/ 181 w 250"/>
                <a:gd name="T7" fmla="*/ 145 h 240"/>
                <a:gd name="T8" fmla="*/ 185 w 250"/>
                <a:gd name="T9" fmla="*/ 121 h 240"/>
                <a:gd name="T10" fmla="*/ 185 w 250"/>
                <a:gd name="T11" fmla="*/ 120 h 240"/>
                <a:gd name="T12" fmla="*/ 181 w 250"/>
                <a:gd name="T13" fmla="*/ 96 h 240"/>
                <a:gd name="T14" fmla="*/ 168 w 250"/>
                <a:gd name="T15" fmla="*/ 76 h 240"/>
                <a:gd name="T16" fmla="*/ 149 w 250"/>
                <a:gd name="T17" fmla="*/ 62 h 240"/>
                <a:gd name="T18" fmla="*/ 124 w 250"/>
                <a:gd name="T19" fmla="*/ 56 h 240"/>
                <a:gd name="T20" fmla="*/ 99 w 250"/>
                <a:gd name="T21" fmla="*/ 61 h 240"/>
                <a:gd name="T22" fmla="*/ 81 w 250"/>
                <a:gd name="T23" fmla="*/ 75 h 240"/>
                <a:gd name="T24" fmla="*/ 69 w 250"/>
                <a:gd name="T25" fmla="*/ 95 h 240"/>
                <a:gd name="T26" fmla="*/ 65 w 250"/>
                <a:gd name="T27" fmla="*/ 119 h 240"/>
                <a:gd name="T28" fmla="*/ 65 w 250"/>
                <a:gd name="T29" fmla="*/ 120 h 240"/>
                <a:gd name="T30" fmla="*/ 69 w 250"/>
                <a:gd name="T31" fmla="*/ 144 h 240"/>
                <a:gd name="T32" fmla="*/ 81 w 250"/>
                <a:gd name="T33" fmla="*/ 165 h 240"/>
                <a:gd name="T34" fmla="*/ 101 w 250"/>
                <a:gd name="T35" fmla="*/ 179 h 240"/>
                <a:gd name="T36" fmla="*/ 125 w 250"/>
                <a:gd name="T37" fmla="*/ 184 h 240"/>
                <a:gd name="T38" fmla="*/ 124 w 250"/>
                <a:gd name="T39" fmla="*/ 240 h 240"/>
                <a:gd name="T40" fmla="*/ 75 w 250"/>
                <a:gd name="T41" fmla="*/ 231 h 240"/>
                <a:gd name="T42" fmla="*/ 36 w 250"/>
                <a:gd name="T43" fmla="*/ 206 h 240"/>
                <a:gd name="T44" fmla="*/ 9 w 250"/>
                <a:gd name="T45" fmla="*/ 168 h 240"/>
                <a:gd name="T46" fmla="*/ 0 w 250"/>
                <a:gd name="T47" fmla="*/ 121 h 240"/>
                <a:gd name="T48" fmla="*/ 0 w 250"/>
                <a:gd name="T49" fmla="*/ 120 h 240"/>
                <a:gd name="T50" fmla="*/ 9 w 250"/>
                <a:gd name="T51" fmla="*/ 73 h 240"/>
                <a:gd name="T52" fmla="*/ 36 w 250"/>
                <a:gd name="T53" fmla="*/ 35 h 240"/>
                <a:gd name="T54" fmla="*/ 75 w 250"/>
                <a:gd name="T55" fmla="*/ 9 h 240"/>
                <a:gd name="T56" fmla="*/ 125 w 250"/>
                <a:gd name="T57" fmla="*/ 0 h 240"/>
                <a:gd name="T58" fmla="*/ 175 w 250"/>
                <a:gd name="T59" fmla="*/ 9 h 240"/>
                <a:gd name="T60" fmla="*/ 214 w 250"/>
                <a:gd name="T61" fmla="*/ 35 h 240"/>
                <a:gd name="T62" fmla="*/ 240 w 250"/>
                <a:gd name="T63" fmla="*/ 73 h 240"/>
                <a:gd name="T64" fmla="*/ 250 w 250"/>
                <a:gd name="T65" fmla="*/ 119 h 240"/>
                <a:gd name="T66" fmla="*/ 250 w 250"/>
                <a:gd name="T67" fmla="*/ 120 h 240"/>
                <a:gd name="T68" fmla="*/ 240 w 250"/>
                <a:gd name="T69" fmla="*/ 167 h 240"/>
                <a:gd name="T70" fmla="*/ 214 w 250"/>
                <a:gd name="T71" fmla="*/ 205 h 240"/>
                <a:gd name="T72" fmla="*/ 174 w 250"/>
                <a:gd name="T73" fmla="*/ 231 h 240"/>
                <a:gd name="T74" fmla="*/ 124 w 250"/>
                <a:gd name="T7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0" h="240">
                  <a:moveTo>
                    <a:pt x="125" y="184"/>
                  </a:moveTo>
                  <a:cubicBezTo>
                    <a:pt x="135" y="184"/>
                    <a:pt x="143" y="182"/>
                    <a:pt x="151" y="179"/>
                  </a:cubicBezTo>
                  <a:cubicBezTo>
                    <a:pt x="158" y="176"/>
                    <a:pt x="164" y="171"/>
                    <a:pt x="169" y="165"/>
                  </a:cubicBezTo>
                  <a:cubicBezTo>
                    <a:pt x="174" y="160"/>
                    <a:pt x="178" y="153"/>
                    <a:pt x="181" y="145"/>
                  </a:cubicBezTo>
                  <a:cubicBezTo>
                    <a:pt x="184" y="138"/>
                    <a:pt x="185" y="130"/>
                    <a:pt x="185" y="121"/>
                  </a:cubicBezTo>
                  <a:lnTo>
                    <a:pt x="185" y="120"/>
                  </a:lnTo>
                  <a:cubicBezTo>
                    <a:pt x="185" y="112"/>
                    <a:pt x="184" y="103"/>
                    <a:pt x="181" y="96"/>
                  </a:cubicBezTo>
                  <a:cubicBezTo>
                    <a:pt x="178" y="88"/>
                    <a:pt x="174" y="81"/>
                    <a:pt x="168" y="76"/>
                  </a:cubicBezTo>
                  <a:cubicBezTo>
                    <a:pt x="163" y="70"/>
                    <a:pt x="157" y="65"/>
                    <a:pt x="149" y="62"/>
                  </a:cubicBezTo>
                  <a:cubicBezTo>
                    <a:pt x="142" y="58"/>
                    <a:pt x="133" y="56"/>
                    <a:pt x="124" y="56"/>
                  </a:cubicBezTo>
                  <a:cubicBezTo>
                    <a:pt x="115" y="56"/>
                    <a:pt x="107" y="58"/>
                    <a:pt x="99" y="61"/>
                  </a:cubicBezTo>
                  <a:cubicBezTo>
                    <a:pt x="92" y="65"/>
                    <a:pt x="86" y="69"/>
                    <a:pt x="81" y="75"/>
                  </a:cubicBezTo>
                  <a:cubicBezTo>
                    <a:pt x="75" y="81"/>
                    <a:pt x="71" y="87"/>
                    <a:pt x="69" y="95"/>
                  </a:cubicBezTo>
                  <a:cubicBezTo>
                    <a:pt x="66" y="103"/>
                    <a:pt x="65" y="111"/>
                    <a:pt x="65" y="119"/>
                  </a:cubicBezTo>
                  <a:lnTo>
                    <a:pt x="65" y="120"/>
                  </a:lnTo>
                  <a:cubicBezTo>
                    <a:pt x="65" y="129"/>
                    <a:pt x="66" y="137"/>
                    <a:pt x="69" y="144"/>
                  </a:cubicBezTo>
                  <a:cubicBezTo>
                    <a:pt x="72" y="152"/>
                    <a:pt x="76" y="159"/>
                    <a:pt x="81" y="165"/>
                  </a:cubicBezTo>
                  <a:cubicBezTo>
                    <a:pt x="87" y="171"/>
                    <a:pt x="93" y="175"/>
                    <a:pt x="101" y="179"/>
                  </a:cubicBezTo>
                  <a:cubicBezTo>
                    <a:pt x="108" y="182"/>
                    <a:pt x="116" y="184"/>
                    <a:pt x="125" y="184"/>
                  </a:cubicBezTo>
                  <a:close/>
                  <a:moveTo>
                    <a:pt x="124" y="240"/>
                  </a:moveTo>
                  <a:cubicBezTo>
                    <a:pt x="107" y="240"/>
                    <a:pt x="90" y="237"/>
                    <a:pt x="75" y="231"/>
                  </a:cubicBezTo>
                  <a:cubicBezTo>
                    <a:pt x="60" y="225"/>
                    <a:pt x="47" y="216"/>
                    <a:pt x="36" y="206"/>
                  </a:cubicBezTo>
                  <a:cubicBezTo>
                    <a:pt x="24" y="195"/>
                    <a:pt x="16" y="182"/>
                    <a:pt x="9" y="168"/>
                  </a:cubicBezTo>
                  <a:cubicBezTo>
                    <a:pt x="3" y="153"/>
                    <a:pt x="0" y="138"/>
                    <a:pt x="0" y="121"/>
                  </a:cubicBezTo>
                  <a:lnTo>
                    <a:pt x="0" y="120"/>
                  </a:lnTo>
                  <a:cubicBezTo>
                    <a:pt x="0" y="103"/>
                    <a:pt x="3" y="88"/>
                    <a:pt x="9" y="73"/>
                  </a:cubicBezTo>
                  <a:cubicBezTo>
                    <a:pt x="16" y="59"/>
                    <a:pt x="25" y="46"/>
                    <a:pt x="36" y="35"/>
                  </a:cubicBezTo>
                  <a:cubicBezTo>
                    <a:pt x="47" y="24"/>
                    <a:pt x="60" y="16"/>
                    <a:pt x="75" y="9"/>
                  </a:cubicBezTo>
                  <a:cubicBezTo>
                    <a:pt x="91" y="3"/>
                    <a:pt x="107" y="0"/>
                    <a:pt x="125" y="0"/>
                  </a:cubicBezTo>
                  <a:cubicBezTo>
                    <a:pt x="143" y="0"/>
                    <a:pt x="160" y="3"/>
                    <a:pt x="175" y="9"/>
                  </a:cubicBezTo>
                  <a:cubicBezTo>
                    <a:pt x="190" y="15"/>
                    <a:pt x="203" y="24"/>
                    <a:pt x="214" y="35"/>
                  </a:cubicBezTo>
                  <a:cubicBezTo>
                    <a:pt x="225" y="45"/>
                    <a:pt x="234" y="58"/>
                    <a:pt x="240" y="73"/>
                  </a:cubicBezTo>
                  <a:cubicBezTo>
                    <a:pt x="247" y="87"/>
                    <a:pt x="250" y="103"/>
                    <a:pt x="250" y="119"/>
                  </a:cubicBezTo>
                  <a:lnTo>
                    <a:pt x="250" y="120"/>
                  </a:lnTo>
                  <a:cubicBezTo>
                    <a:pt x="250" y="137"/>
                    <a:pt x="247" y="152"/>
                    <a:pt x="240" y="167"/>
                  </a:cubicBezTo>
                  <a:cubicBezTo>
                    <a:pt x="234" y="181"/>
                    <a:pt x="225" y="194"/>
                    <a:pt x="214" y="205"/>
                  </a:cubicBezTo>
                  <a:cubicBezTo>
                    <a:pt x="203" y="216"/>
                    <a:pt x="190" y="225"/>
                    <a:pt x="174" y="231"/>
                  </a:cubicBezTo>
                  <a:cubicBezTo>
                    <a:pt x="159" y="237"/>
                    <a:pt x="143" y="240"/>
                    <a:pt x="124" y="240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6" name="Freeform 38">
              <a:extLst>
                <a:ext uri="{FF2B5EF4-FFF2-40B4-BE49-F238E27FC236}">
                  <a16:creationId xmlns:a16="http://schemas.microsoft.com/office/drawing/2014/main" id="{55C90ECF-90EA-188C-2888-9DD064137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8" y="422"/>
              <a:ext cx="17" cy="30"/>
            </a:xfrm>
            <a:custGeom>
              <a:avLst/>
              <a:gdLst>
                <a:gd name="T0" fmla="*/ 0 w 139"/>
                <a:gd name="T1" fmla="*/ 5 h 236"/>
                <a:gd name="T2" fmla="*/ 66 w 139"/>
                <a:gd name="T3" fmla="*/ 5 h 236"/>
                <a:gd name="T4" fmla="*/ 66 w 139"/>
                <a:gd name="T5" fmla="*/ 52 h 236"/>
                <a:gd name="T6" fmla="*/ 93 w 139"/>
                <a:gd name="T7" fmla="*/ 14 h 236"/>
                <a:gd name="T8" fmla="*/ 139 w 139"/>
                <a:gd name="T9" fmla="*/ 1 h 236"/>
                <a:gd name="T10" fmla="*/ 139 w 139"/>
                <a:gd name="T11" fmla="*/ 69 h 236"/>
                <a:gd name="T12" fmla="*/ 136 w 139"/>
                <a:gd name="T13" fmla="*/ 69 h 236"/>
                <a:gd name="T14" fmla="*/ 84 w 139"/>
                <a:gd name="T15" fmla="*/ 89 h 236"/>
                <a:gd name="T16" fmla="*/ 66 w 139"/>
                <a:gd name="T17" fmla="*/ 151 h 236"/>
                <a:gd name="T18" fmla="*/ 66 w 139"/>
                <a:gd name="T19" fmla="*/ 236 h 236"/>
                <a:gd name="T20" fmla="*/ 0 w 139"/>
                <a:gd name="T21" fmla="*/ 236 h 236"/>
                <a:gd name="T22" fmla="*/ 0 w 139"/>
                <a:gd name="T23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236">
                  <a:moveTo>
                    <a:pt x="0" y="5"/>
                  </a:moveTo>
                  <a:lnTo>
                    <a:pt x="66" y="5"/>
                  </a:lnTo>
                  <a:lnTo>
                    <a:pt x="66" y="52"/>
                  </a:lnTo>
                  <a:cubicBezTo>
                    <a:pt x="72" y="36"/>
                    <a:pt x="81" y="23"/>
                    <a:pt x="93" y="14"/>
                  </a:cubicBezTo>
                  <a:cubicBezTo>
                    <a:pt x="104" y="4"/>
                    <a:pt x="120" y="0"/>
                    <a:pt x="139" y="1"/>
                  </a:cubicBezTo>
                  <a:lnTo>
                    <a:pt x="139" y="69"/>
                  </a:lnTo>
                  <a:lnTo>
                    <a:pt x="136" y="69"/>
                  </a:lnTo>
                  <a:cubicBezTo>
                    <a:pt x="114" y="69"/>
                    <a:pt x="97" y="76"/>
                    <a:pt x="84" y="89"/>
                  </a:cubicBezTo>
                  <a:cubicBezTo>
                    <a:pt x="72" y="102"/>
                    <a:pt x="66" y="123"/>
                    <a:pt x="66" y="151"/>
                  </a:cubicBezTo>
                  <a:lnTo>
                    <a:pt x="66" y="236"/>
                  </a:lnTo>
                  <a:lnTo>
                    <a:pt x="0" y="236"/>
                  </a:lnTo>
                  <a:lnTo>
                    <a:pt x="0" y="5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7" name="Freeform 39">
              <a:extLst>
                <a:ext uri="{FF2B5EF4-FFF2-40B4-BE49-F238E27FC236}">
                  <a16:creationId xmlns:a16="http://schemas.microsoft.com/office/drawing/2014/main" id="{39E2006C-73CD-7EBD-011D-AD31E110D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" y="422"/>
              <a:ext cx="44" cy="30"/>
            </a:xfrm>
            <a:custGeom>
              <a:avLst/>
              <a:gdLst>
                <a:gd name="T0" fmla="*/ 0 w 353"/>
                <a:gd name="T1" fmla="*/ 4 h 235"/>
                <a:gd name="T2" fmla="*/ 66 w 353"/>
                <a:gd name="T3" fmla="*/ 4 h 235"/>
                <a:gd name="T4" fmla="*/ 66 w 353"/>
                <a:gd name="T5" fmla="*/ 37 h 235"/>
                <a:gd name="T6" fmla="*/ 78 w 353"/>
                <a:gd name="T7" fmla="*/ 23 h 235"/>
                <a:gd name="T8" fmla="*/ 93 w 353"/>
                <a:gd name="T9" fmla="*/ 11 h 235"/>
                <a:gd name="T10" fmla="*/ 111 w 353"/>
                <a:gd name="T11" fmla="*/ 3 h 235"/>
                <a:gd name="T12" fmla="*/ 134 w 353"/>
                <a:gd name="T13" fmla="*/ 0 h 235"/>
                <a:gd name="T14" fmla="*/ 173 w 353"/>
                <a:gd name="T15" fmla="*/ 9 h 235"/>
                <a:gd name="T16" fmla="*/ 199 w 353"/>
                <a:gd name="T17" fmla="*/ 37 h 235"/>
                <a:gd name="T18" fmla="*/ 233 w 353"/>
                <a:gd name="T19" fmla="*/ 9 h 235"/>
                <a:gd name="T20" fmla="*/ 275 w 353"/>
                <a:gd name="T21" fmla="*/ 0 h 235"/>
                <a:gd name="T22" fmla="*/ 332 w 353"/>
                <a:gd name="T23" fmla="*/ 21 h 235"/>
                <a:gd name="T24" fmla="*/ 353 w 353"/>
                <a:gd name="T25" fmla="*/ 85 h 235"/>
                <a:gd name="T26" fmla="*/ 353 w 353"/>
                <a:gd name="T27" fmla="*/ 235 h 235"/>
                <a:gd name="T28" fmla="*/ 287 w 353"/>
                <a:gd name="T29" fmla="*/ 235 h 235"/>
                <a:gd name="T30" fmla="*/ 287 w 353"/>
                <a:gd name="T31" fmla="*/ 107 h 235"/>
                <a:gd name="T32" fmla="*/ 277 w 353"/>
                <a:gd name="T33" fmla="*/ 72 h 235"/>
                <a:gd name="T34" fmla="*/ 249 w 353"/>
                <a:gd name="T35" fmla="*/ 60 h 235"/>
                <a:gd name="T36" fmla="*/ 220 w 353"/>
                <a:gd name="T37" fmla="*/ 72 h 235"/>
                <a:gd name="T38" fmla="*/ 209 w 353"/>
                <a:gd name="T39" fmla="*/ 107 h 235"/>
                <a:gd name="T40" fmla="*/ 209 w 353"/>
                <a:gd name="T41" fmla="*/ 235 h 235"/>
                <a:gd name="T42" fmla="*/ 144 w 353"/>
                <a:gd name="T43" fmla="*/ 235 h 235"/>
                <a:gd name="T44" fmla="*/ 144 w 353"/>
                <a:gd name="T45" fmla="*/ 107 h 235"/>
                <a:gd name="T46" fmla="*/ 134 w 353"/>
                <a:gd name="T47" fmla="*/ 72 h 235"/>
                <a:gd name="T48" fmla="*/ 105 w 353"/>
                <a:gd name="T49" fmla="*/ 60 h 235"/>
                <a:gd name="T50" fmla="*/ 76 w 353"/>
                <a:gd name="T51" fmla="*/ 72 h 235"/>
                <a:gd name="T52" fmla="*/ 66 w 353"/>
                <a:gd name="T53" fmla="*/ 107 h 235"/>
                <a:gd name="T54" fmla="*/ 66 w 353"/>
                <a:gd name="T55" fmla="*/ 235 h 235"/>
                <a:gd name="T56" fmla="*/ 0 w 353"/>
                <a:gd name="T57" fmla="*/ 235 h 235"/>
                <a:gd name="T58" fmla="*/ 0 w 353"/>
                <a:gd name="T59" fmla="*/ 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3" h="235">
                  <a:moveTo>
                    <a:pt x="0" y="4"/>
                  </a:moveTo>
                  <a:lnTo>
                    <a:pt x="66" y="4"/>
                  </a:lnTo>
                  <a:lnTo>
                    <a:pt x="66" y="37"/>
                  </a:lnTo>
                  <a:cubicBezTo>
                    <a:pt x="70" y="32"/>
                    <a:pt x="74" y="28"/>
                    <a:pt x="78" y="23"/>
                  </a:cubicBezTo>
                  <a:cubicBezTo>
                    <a:pt x="83" y="19"/>
                    <a:pt x="87" y="15"/>
                    <a:pt x="93" y="11"/>
                  </a:cubicBezTo>
                  <a:cubicBezTo>
                    <a:pt x="98" y="8"/>
                    <a:pt x="105" y="5"/>
                    <a:pt x="111" y="3"/>
                  </a:cubicBezTo>
                  <a:cubicBezTo>
                    <a:pt x="118" y="1"/>
                    <a:pt x="126" y="0"/>
                    <a:pt x="134" y="0"/>
                  </a:cubicBezTo>
                  <a:cubicBezTo>
                    <a:pt x="149" y="0"/>
                    <a:pt x="162" y="3"/>
                    <a:pt x="173" y="9"/>
                  </a:cubicBezTo>
                  <a:cubicBezTo>
                    <a:pt x="184" y="16"/>
                    <a:pt x="193" y="25"/>
                    <a:pt x="199" y="37"/>
                  </a:cubicBezTo>
                  <a:cubicBezTo>
                    <a:pt x="209" y="25"/>
                    <a:pt x="220" y="15"/>
                    <a:pt x="233" y="9"/>
                  </a:cubicBezTo>
                  <a:cubicBezTo>
                    <a:pt x="245" y="3"/>
                    <a:pt x="259" y="0"/>
                    <a:pt x="275" y="0"/>
                  </a:cubicBezTo>
                  <a:cubicBezTo>
                    <a:pt x="299" y="0"/>
                    <a:pt x="318" y="7"/>
                    <a:pt x="332" y="21"/>
                  </a:cubicBezTo>
                  <a:cubicBezTo>
                    <a:pt x="346" y="36"/>
                    <a:pt x="353" y="57"/>
                    <a:pt x="353" y="85"/>
                  </a:cubicBezTo>
                  <a:lnTo>
                    <a:pt x="353" y="235"/>
                  </a:lnTo>
                  <a:lnTo>
                    <a:pt x="287" y="235"/>
                  </a:lnTo>
                  <a:lnTo>
                    <a:pt x="287" y="107"/>
                  </a:lnTo>
                  <a:cubicBezTo>
                    <a:pt x="287" y="91"/>
                    <a:pt x="284" y="80"/>
                    <a:pt x="277" y="72"/>
                  </a:cubicBezTo>
                  <a:cubicBezTo>
                    <a:pt x="271" y="64"/>
                    <a:pt x="261" y="60"/>
                    <a:pt x="249" y="60"/>
                  </a:cubicBezTo>
                  <a:cubicBezTo>
                    <a:pt x="237" y="60"/>
                    <a:pt x="227" y="64"/>
                    <a:pt x="220" y="72"/>
                  </a:cubicBezTo>
                  <a:cubicBezTo>
                    <a:pt x="213" y="80"/>
                    <a:pt x="209" y="91"/>
                    <a:pt x="209" y="107"/>
                  </a:cubicBezTo>
                  <a:lnTo>
                    <a:pt x="209" y="235"/>
                  </a:lnTo>
                  <a:lnTo>
                    <a:pt x="144" y="235"/>
                  </a:lnTo>
                  <a:lnTo>
                    <a:pt x="144" y="107"/>
                  </a:lnTo>
                  <a:cubicBezTo>
                    <a:pt x="144" y="91"/>
                    <a:pt x="140" y="80"/>
                    <a:pt x="134" y="72"/>
                  </a:cubicBezTo>
                  <a:cubicBezTo>
                    <a:pt x="127" y="64"/>
                    <a:pt x="118" y="60"/>
                    <a:pt x="105" y="60"/>
                  </a:cubicBezTo>
                  <a:cubicBezTo>
                    <a:pt x="93" y="60"/>
                    <a:pt x="83" y="64"/>
                    <a:pt x="76" y="72"/>
                  </a:cubicBezTo>
                  <a:cubicBezTo>
                    <a:pt x="69" y="80"/>
                    <a:pt x="66" y="91"/>
                    <a:pt x="66" y="107"/>
                  </a:cubicBezTo>
                  <a:lnTo>
                    <a:pt x="66" y="235"/>
                  </a:lnTo>
                  <a:lnTo>
                    <a:pt x="0" y="235"/>
                  </a:lnTo>
                  <a:lnTo>
                    <a:pt x="0" y="4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8" name="Freeform 40">
              <a:extLst>
                <a:ext uri="{FF2B5EF4-FFF2-40B4-BE49-F238E27FC236}">
                  <a16:creationId xmlns:a16="http://schemas.microsoft.com/office/drawing/2014/main" id="{A8D9BD5C-B874-89B4-4291-F065D418BC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422"/>
              <a:ext cx="26" cy="30"/>
            </a:xfrm>
            <a:custGeom>
              <a:avLst/>
              <a:gdLst>
                <a:gd name="T0" fmla="*/ 99 w 212"/>
                <a:gd name="T1" fmla="*/ 192 h 237"/>
                <a:gd name="T2" fmla="*/ 136 w 212"/>
                <a:gd name="T3" fmla="*/ 181 h 237"/>
                <a:gd name="T4" fmla="*/ 150 w 212"/>
                <a:gd name="T5" fmla="*/ 152 h 237"/>
                <a:gd name="T6" fmla="*/ 150 w 212"/>
                <a:gd name="T7" fmla="*/ 140 h 237"/>
                <a:gd name="T8" fmla="*/ 131 w 212"/>
                <a:gd name="T9" fmla="*/ 134 h 237"/>
                <a:gd name="T10" fmla="*/ 108 w 212"/>
                <a:gd name="T11" fmla="*/ 131 h 237"/>
                <a:gd name="T12" fmla="*/ 75 w 212"/>
                <a:gd name="T13" fmla="*/ 140 h 237"/>
                <a:gd name="T14" fmla="*/ 63 w 212"/>
                <a:gd name="T15" fmla="*/ 163 h 237"/>
                <a:gd name="T16" fmla="*/ 63 w 212"/>
                <a:gd name="T17" fmla="*/ 164 h 237"/>
                <a:gd name="T18" fmla="*/ 73 w 212"/>
                <a:gd name="T19" fmla="*/ 185 h 237"/>
                <a:gd name="T20" fmla="*/ 99 w 212"/>
                <a:gd name="T21" fmla="*/ 192 h 237"/>
                <a:gd name="T22" fmla="*/ 79 w 212"/>
                <a:gd name="T23" fmla="*/ 237 h 237"/>
                <a:gd name="T24" fmla="*/ 48 w 212"/>
                <a:gd name="T25" fmla="*/ 233 h 237"/>
                <a:gd name="T26" fmla="*/ 23 w 212"/>
                <a:gd name="T27" fmla="*/ 219 h 237"/>
                <a:gd name="T28" fmla="*/ 6 w 212"/>
                <a:gd name="T29" fmla="*/ 197 h 237"/>
                <a:gd name="T30" fmla="*/ 0 w 212"/>
                <a:gd name="T31" fmla="*/ 167 h 237"/>
                <a:gd name="T32" fmla="*/ 0 w 212"/>
                <a:gd name="T33" fmla="*/ 166 h 237"/>
                <a:gd name="T34" fmla="*/ 7 w 212"/>
                <a:gd name="T35" fmla="*/ 133 h 237"/>
                <a:gd name="T36" fmla="*/ 26 w 212"/>
                <a:gd name="T37" fmla="*/ 110 h 237"/>
                <a:gd name="T38" fmla="*/ 55 w 212"/>
                <a:gd name="T39" fmla="*/ 97 h 237"/>
                <a:gd name="T40" fmla="*/ 93 w 212"/>
                <a:gd name="T41" fmla="*/ 92 h 237"/>
                <a:gd name="T42" fmla="*/ 124 w 212"/>
                <a:gd name="T43" fmla="*/ 95 h 237"/>
                <a:gd name="T44" fmla="*/ 149 w 212"/>
                <a:gd name="T45" fmla="*/ 102 h 237"/>
                <a:gd name="T46" fmla="*/ 149 w 212"/>
                <a:gd name="T47" fmla="*/ 98 h 237"/>
                <a:gd name="T48" fmla="*/ 137 w 212"/>
                <a:gd name="T49" fmla="*/ 66 h 237"/>
                <a:gd name="T50" fmla="*/ 100 w 212"/>
                <a:gd name="T51" fmla="*/ 56 h 237"/>
                <a:gd name="T52" fmla="*/ 66 w 212"/>
                <a:gd name="T53" fmla="*/ 59 h 237"/>
                <a:gd name="T54" fmla="*/ 36 w 212"/>
                <a:gd name="T55" fmla="*/ 68 h 237"/>
                <a:gd name="T56" fmla="*/ 20 w 212"/>
                <a:gd name="T57" fmla="*/ 18 h 237"/>
                <a:gd name="T58" fmla="*/ 59 w 212"/>
                <a:gd name="T59" fmla="*/ 5 h 237"/>
                <a:gd name="T60" fmla="*/ 109 w 212"/>
                <a:gd name="T61" fmla="*/ 0 h 237"/>
                <a:gd name="T62" fmla="*/ 156 w 212"/>
                <a:gd name="T63" fmla="*/ 6 h 237"/>
                <a:gd name="T64" fmla="*/ 187 w 212"/>
                <a:gd name="T65" fmla="*/ 26 h 237"/>
                <a:gd name="T66" fmla="*/ 206 w 212"/>
                <a:gd name="T67" fmla="*/ 57 h 237"/>
                <a:gd name="T68" fmla="*/ 212 w 212"/>
                <a:gd name="T69" fmla="*/ 99 h 237"/>
                <a:gd name="T70" fmla="*/ 212 w 212"/>
                <a:gd name="T71" fmla="*/ 233 h 237"/>
                <a:gd name="T72" fmla="*/ 149 w 212"/>
                <a:gd name="T73" fmla="*/ 233 h 237"/>
                <a:gd name="T74" fmla="*/ 149 w 212"/>
                <a:gd name="T75" fmla="*/ 208 h 237"/>
                <a:gd name="T76" fmla="*/ 120 w 212"/>
                <a:gd name="T77" fmla="*/ 230 h 237"/>
                <a:gd name="T78" fmla="*/ 79 w 212"/>
                <a:gd name="T79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2" h="237">
                  <a:moveTo>
                    <a:pt x="99" y="192"/>
                  </a:moveTo>
                  <a:cubicBezTo>
                    <a:pt x="114" y="192"/>
                    <a:pt x="127" y="189"/>
                    <a:pt x="136" y="181"/>
                  </a:cubicBezTo>
                  <a:cubicBezTo>
                    <a:pt x="145" y="174"/>
                    <a:pt x="150" y="164"/>
                    <a:pt x="150" y="152"/>
                  </a:cubicBezTo>
                  <a:lnTo>
                    <a:pt x="150" y="140"/>
                  </a:lnTo>
                  <a:cubicBezTo>
                    <a:pt x="144" y="138"/>
                    <a:pt x="138" y="135"/>
                    <a:pt x="131" y="134"/>
                  </a:cubicBezTo>
                  <a:cubicBezTo>
                    <a:pt x="124" y="132"/>
                    <a:pt x="116" y="131"/>
                    <a:pt x="108" y="131"/>
                  </a:cubicBezTo>
                  <a:cubicBezTo>
                    <a:pt x="94" y="131"/>
                    <a:pt x="83" y="134"/>
                    <a:pt x="75" y="140"/>
                  </a:cubicBezTo>
                  <a:cubicBezTo>
                    <a:pt x="67" y="145"/>
                    <a:pt x="63" y="153"/>
                    <a:pt x="63" y="163"/>
                  </a:cubicBezTo>
                  <a:lnTo>
                    <a:pt x="63" y="164"/>
                  </a:lnTo>
                  <a:cubicBezTo>
                    <a:pt x="63" y="173"/>
                    <a:pt x="66" y="180"/>
                    <a:pt x="73" y="185"/>
                  </a:cubicBezTo>
                  <a:cubicBezTo>
                    <a:pt x="80" y="190"/>
                    <a:pt x="88" y="192"/>
                    <a:pt x="99" y="192"/>
                  </a:cubicBezTo>
                  <a:close/>
                  <a:moveTo>
                    <a:pt x="79" y="237"/>
                  </a:moveTo>
                  <a:cubicBezTo>
                    <a:pt x="68" y="237"/>
                    <a:pt x="58" y="236"/>
                    <a:pt x="48" y="233"/>
                  </a:cubicBezTo>
                  <a:cubicBezTo>
                    <a:pt x="39" y="230"/>
                    <a:pt x="30" y="225"/>
                    <a:pt x="23" y="219"/>
                  </a:cubicBezTo>
                  <a:cubicBezTo>
                    <a:pt x="16" y="213"/>
                    <a:pt x="10" y="206"/>
                    <a:pt x="6" y="197"/>
                  </a:cubicBezTo>
                  <a:cubicBezTo>
                    <a:pt x="2" y="188"/>
                    <a:pt x="0" y="178"/>
                    <a:pt x="0" y="167"/>
                  </a:cubicBezTo>
                  <a:lnTo>
                    <a:pt x="0" y="166"/>
                  </a:lnTo>
                  <a:cubicBezTo>
                    <a:pt x="0" y="153"/>
                    <a:pt x="2" y="142"/>
                    <a:pt x="7" y="133"/>
                  </a:cubicBezTo>
                  <a:cubicBezTo>
                    <a:pt x="11" y="124"/>
                    <a:pt x="18" y="116"/>
                    <a:pt x="26" y="110"/>
                  </a:cubicBezTo>
                  <a:cubicBezTo>
                    <a:pt x="34" y="104"/>
                    <a:pt x="44" y="100"/>
                    <a:pt x="55" y="97"/>
                  </a:cubicBezTo>
                  <a:cubicBezTo>
                    <a:pt x="67" y="94"/>
                    <a:pt x="79" y="92"/>
                    <a:pt x="93" y="92"/>
                  </a:cubicBezTo>
                  <a:cubicBezTo>
                    <a:pt x="105" y="92"/>
                    <a:pt x="115" y="93"/>
                    <a:pt x="124" y="95"/>
                  </a:cubicBezTo>
                  <a:cubicBezTo>
                    <a:pt x="132" y="97"/>
                    <a:pt x="141" y="99"/>
                    <a:pt x="149" y="102"/>
                  </a:cubicBezTo>
                  <a:lnTo>
                    <a:pt x="149" y="98"/>
                  </a:lnTo>
                  <a:cubicBezTo>
                    <a:pt x="149" y="84"/>
                    <a:pt x="145" y="74"/>
                    <a:pt x="137" y="66"/>
                  </a:cubicBezTo>
                  <a:cubicBezTo>
                    <a:pt x="128" y="59"/>
                    <a:pt x="116" y="56"/>
                    <a:pt x="100" y="56"/>
                  </a:cubicBezTo>
                  <a:cubicBezTo>
                    <a:pt x="87" y="56"/>
                    <a:pt x="76" y="57"/>
                    <a:pt x="66" y="59"/>
                  </a:cubicBezTo>
                  <a:cubicBezTo>
                    <a:pt x="57" y="61"/>
                    <a:pt x="47" y="64"/>
                    <a:pt x="36" y="68"/>
                  </a:cubicBezTo>
                  <a:lnTo>
                    <a:pt x="20" y="18"/>
                  </a:lnTo>
                  <a:cubicBezTo>
                    <a:pt x="32" y="13"/>
                    <a:pt x="45" y="8"/>
                    <a:pt x="59" y="5"/>
                  </a:cubicBezTo>
                  <a:cubicBezTo>
                    <a:pt x="73" y="1"/>
                    <a:pt x="90" y="0"/>
                    <a:pt x="109" y="0"/>
                  </a:cubicBezTo>
                  <a:cubicBezTo>
                    <a:pt x="127" y="0"/>
                    <a:pt x="143" y="2"/>
                    <a:pt x="156" y="6"/>
                  </a:cubicBezTo>
                  <a:cubicBezTo>
                    <a:pt x="168" y="11"/>
                    <a:pt x="179" y="17"/>
                    <a:pt x="187" y="26"/>
                  </a:cubicBezTo>
                  <a:cubicBezTo>
                    <a:pt x="196" y="34"/>
                    <a:pt x="202" y="45"/>
                    <a:pt x="206" y="57"/>
                  </a:cubicBezTo>
                  <a:cubicBezTo>
                    <a:pt x="210" y="70"/>
                    <a:pt x="212" y="84"/>
                    <a:pt x="212" y="99"/>
                  </a:cubicBezTo>
                  <a:lnTo>
                    <a:pt x="212" y="233"/>
                  </a:lnTo>
                  <a:lnTo>
                    <a:pt x="149" y="233"/>
                  </a:lnTo>
                  <a:lnTo>
                    <a:pt x="149" y="208"/>
                  </a:lnTo>
                  <a:cubicBezTo>
                    <a:pt x="141" y="217"/>
                    <a:pt x="131" y="224"/>
                    <a:pt x="120" y="230"/>
                  </a:cubicBezTo>
                  <a:cubicBezTo>
                    <a:pt x="109" y="235"/>
                    <a:pt x="95" y="237"/>
                    <a:pt x="79" y="237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9" name="Freeform 41">
              <a:extLst>
                <a:ext uri="{FF2B5EF4-FFF2-40B4-BE49-F238E27FC236}">
                  <a16:creationId xmlns:a16="http://schemas.microsoft.com/office/drawing/2014/main" id="{90941248-BED6-8B58-375D-F12096270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1" y="422"/>
              <a:ext cx="27" cy="31"/>
            </a:xfrm>
            <a:custGeom>
              <a:avLst/>
              <a:gdLst>
                <a:gd name="T0" fmla="*/ 121 w 215"/>
                <a:gd name="T1" fmla="*/ 240 h 240"/>
                <a:gd name="T2" fmla="*/ 73 w 215"/>
                <a:gd name="T3" fmla="*/ 231 h 240"/>
                <a:gd name="T4" fmla="*/ 34 w 215"/>
                <a:gd name="T5" fmla="*/ 205 h 240"/>
                <a:gd name="T6" fmla="*/ 9 w 215"/>
                <a:gd name="T7" fmla="*/ 167 h 240"/>
                <a:gd name="T8" fmla="*/ 0 w 215"/>
                <a:gd name="T9" fmla="*/ 121 h 240"/>
                <a:gd name="T10" fmla="*/ 0 w 215"/>
                <a:gd name="T11" fmla="*/ 120 h 240"/>
                <a:gd name="T12" fmla="*/ 9 w 215"/>
                <a:gd name="T13" fmla="*/ 74 h 240"/>
                <a:gd name="T14" fmla="*/ 34 w 215"/>
                <a:gd name="T15" fmla="*/ 35 h 240"/>
                <a:gd name="T16" fmla="*/ 73 w 215"/>
                <a:gd name="T17" fmla="*/ 9 h 240"/>
                <a:gd name="T18" fmla="*/ 121 w 215"/>
                <a:gd name="T19" fmla="*/ 0 h 240"/>
                <a:gd name="T20" fmla="*/ 176 w 215"/>
                <a:gd name="T21" fmla="*/ 10 h 240"/>
                <a:gd name="T22" fmla="*/ 214 w 215"/>
                <a:gd name="T23" fmla="*/ 39 h 240"/>
                <a:gd name="T24" fmla="*/ 174 w 215"/>
                <a:gd name="T25" fmla="*/ 82 h 240"/>
                <a:gd name="T26" fmla="*/ 151 w 215"/>
                <a:gd name="T27" fmla="*/ 63 h 240"/>
                <a:gd name="T28" fmla="*/ 121 w 215"/>
                <a:gd name="T29" fmla="*/ 56 h 240"/>
                <a:gd name="T30" fmla="*/ 98 w 215"/>
                <a:gd name="T31" fmla="*/ 61 h 240"/>
                <a:gd name="T32" fmla="*/ 81 w 215"/>
                <a:gd name="T33" fmla="*/ 75 h 240"/>
                <a:gd name="T34" fmla="*/ 69 w 215"/>
                <a:gd name="T35" fmla="*/ 95 h 240"/>
                <a:gd name="T36" fmla="*/ 65 w 215"/>
                <a:gd name="T37" fmla="*/ 119 h 240"/>
                <a:gd name="T38" fmla="*/ 65 w 215"/>
                <a:gd name="T39" fmla="*/ 120 h 240"/>
                <a:gd name="T40" fmla="*/ 69 w 215"/>
                <a:gd name="T41" fmla="*/ 145 h 240"/>
                <a:gd name="T42" fmla="*/ 81 w 215"/>
                <a:gd name="T43" fmla="*/ 165 h 240"/>
                <a:gd name="T44" fmla="*/ 100 w 215"/>
                <a:gd name="T45" fmla="*/ 179 h 240"/>
                <a:gd name="T46" fmla="*/ 124 w 215"/>
                <a:gd name="T47" fmla="*/ 184 h 240"/>
                <a:gd name="T48" fmla="*/ 152 w 215"/>
                <a:gd name="T49" fmla="*/ 177 h 240"/>
                <a:gd name="T50" fmla="*/ 177 w 215"/>
                <a:gd name="T51" fmla="*/ 159 h 240"/>
                <a:gd name="T52" fmla="*/ 215 w 215"/>
                <a:gd name="T53" fmla="*/ 198 h 240"/>
                <a:gd name="T54" fmla="*/ 177 w 215"/>
                <a:gd name="T55" fmla="*/ 228 h 240"/>
                <a:gd name="T56" fmla="*/ 121 w 215"/>
                <a:gd name="T57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5" h="240">
                  <a:moveTo>
                    <a:pt x="121" y="240"/>
                  </a:moveTo>
                  <a:cubicBezTo>
                    <a:pt x="103" y="240"/>
                    <a:pt x="87" y="237"/>
                    <a:pt x="73" y="231"/>
                  </a:cubicBezTo>
                  <a:cubicBezTo>
                    <a:pt x="58" y="225"/>
                    <a:pt x="45" y="216"/>
                    <a:pt x="34" y="205"/>
                  </a:cubicBezTo>
                  <a:cubicBezTo>
                    <a:pt x="24" y="194"/>
                    <a:pt x="16" y="182"/>
                    <a:pt x="9" y="167"/>
                  </a:cubicBezTo>
                  <a:cubicBezTo>
                    <a:pt x="3" y="153"/>
                    <a:pt x="0" y="137"/>
                    <a:pt x="0" y="121"/>
                  </a:cubicBezTo>
                  <a:lnTo>
                    <a:pt x="0" y="120"/>
                  </a:lnTo>
                  <a:cubicBezTo>
                    <a:pt x="0" y="104"/>
                    <a:pt x="3" y="88"/>
                    <a:pt x="9" y="74"/>
                  </a:cubicBezTo>
                  <a:cubicBezTo>
                    <a:pt x="16" y="59"/>
                    <a:pt x="24" y="46"/>
                    <a:pt x="34" y="35"/>
                  </a:cubicBezTo>
                  <a:cubicBezTo>
                    <a:pt x="45" y="24"/>
                    <a:pt x="58" y="16"/>
                    <a:pt x="73" y="9"/>
                  </a:cubicBezTo>
                  <a:cubicBezTo>
                    <a:pt x="87" y="3"/>
                    <a:pt x="104" y="0"/>
                    <a:pt x="121" y="0"/>
                  </a:cubicBezTo>
                  <a:cubicBezTo>
                    <a:pt x="143" y="0"/>
                    <a:pt x="161" y="3"/>
                    <a:pt x="176" y="10"/>
                  </a:cubicBezTo>
                  <a:cubicBezTo>
                    <a:pt x="190" y="17"/>
                    <a:pt x="203" y="27"/>
                    <a:pt x="214" y="39"/>
                  </a:cubicBezTo>
                  <a:lnTo>
                    <a:pt x="174" y="82"/>
                  </a:lnTo>
                  <a:cubicBezTo>
                    <a:pt x="166" y="74"/>
                    <a:pt x="158" y="68"/>
                    <a:pt x="151" y="63"/>
                  </a:cubicBezTo>
                  <a:cubicBezTo>
                    <a:pt x="143" y="59"/>
                    <a:pt x="133" y="56"/>
                    <a:pt x="121" y="56"/>
                  </a:cubicBezTo>
                  <a:cubicBezTo>
                    <a:pt x="113" y="56"/>
                    <a:pt x="105" y="58"/>
                    <a:pt x="98" y="61"/>
                  </a:cubicBezTo>
                  <a:cubicBezTo>
                    <a:pt x="92" y="65"/>
                    <a:pt x="86" y="69"/>
                    <a:pt x="81" y="75"/>
                  </a:cubicBezTo>
                  <a:cubicBezTo>
                    <a:pt x="76" y="81"/>
                    <a:pt x="72" y="87"/>
                    <a:pt x="69" y="95"/>
                  </a:cubicBezTo>
                  <a:cubicBezTo>
                    <a:pt x="66" y="103"/>
                    <a:pt x="65" y="111"/>
                    <a:pt x="65" y="119"/>
                  </a:cubicBezTo>
                  <a:lnTo>
                    <a:pt x="65" y="120"/>
                  </a:lnTo>
                  <a:cubicBezTo>
                    <a:pt x="65" y="129"/>
                    <a:pt x="66" y="137"/>
                    <a:pt x="69" y="145"/>
                  </a:cubicBezTo>
                  <a:cubicBezTo>
                    <a:pt x="72" y="153"/>
                    <a:pt x="76" y="160"/>
                    <a:pt x="81" y="165"/>
                  </a:cubicBezTo>
                  <a:cubicBezTo>
                    <a:pt x="86" y="171"/>
                    <a:pt x="92" y="176"/>
                    <a:pt x="100" y="179"/>
                  </a:cubicBezTo>
                  <a:cubicBezTo>
                    <a:pt x="107" y="182"/>
                    <a:pt x="115" y="184"/>
                    <a:pt x="124" y="184"/>
                  </a:cubicBezTo>
                  <a:cubicBezTo>
                    <a:pt x="135" y="184"/>
                    <a:pt x="144" y="182"/>
                    <a:pt x="152" y="177"/>
                  </a:cubicBezTo>
                  <a:cubicBezTo>
                    <a:pt x="160" y="173"/>
                    <a:pt x="169" y="167"/>
                    <a:pt x="177" y="159"/>
                  </a:cubicBezTo>
                  <a:lnTo>
                    <a:pt x="215" y="198"/>
                  </a:lnTo>
                  <a:cubicBezTo>
                    <a:pt x="204" y="210"/>
                    <a:pt x="191" y="221"/>
                    <a:pt x="177" y="228"/>
                  </a:cubicBezTo>
                  <a:cubicBezTo>
                    <a:pt x="162" y="236"/>
                    <a:pt x="144" y="240"/>
                    <a:pt x="121" y="240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0" name="Freeform 42">
              <a:extLst>
                <a:ext uri="{FF2B5EF4-FFF2-40B4-BE49-F238E27FC236}">
                  <a16:creationId xmlns:a16="http://schemas.microsoft.com/office/drawing/2014/main" id="{922B5A63-8EB4-94C8-179B-01BB89C73C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3" y="412"/>
              <a:ext cx="9" cy="40"/>
            </a:xfrm>
            <a:custGeom>
              <a:avLst/>
              <a:gdLst>
                <a:gd name="T0" fmla="*/ 2 w 69"/>
                <a:gd name="T1" fmla="*/ 83 h 314"/>
                <a:gd name="T2" fmla="*/ 67 w 69"/>
                <a:gd name="T3" fmla="*/ 83 h 314"/>
                <a:gd name="T4" fmla="*/ 67 w 69"/>
                <a:gd name="T5" fmla="*/ 314 h 314"/>
                <a:gd name="T6" fmla="*/ 2 w 69"/>
                <a:gd name="T7" fmla="*/ 314 h 314"/>
                <a:gd name="T8" fmla="*/ 2 w 69"/>
                <a:gd name="T9" fmla="*/ 83 h 314"/>
                <a:gd name="T10" fmla="*/ 0 w 69"/>
                <a:gd name="T11" fmla="*/ 0 h 314"/>
                <a:gd name="T12" fmla="*/ 69 w 69"/>
                <a:gd name="T13" fmla="*/ 0 h 314"/>
                <a:gd name="T14" fmla="*/ 69 w 69"/>
                <a:gd name="T15" fmla="*/ 58 h 314"/>
                <a:gd name="T16" fmla="*/ 0 w 69"/>
                <a:gd name="T17" fmla="*/ 58 h 314"/>
                <a:gd name="T18" fmla="*/ 0 w 69"/>
                <a:gd name="T19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314">
                  <a:moveTo>
                    <a:pt x="2" y="83"/>
                  </a:moveTo>
                  <a:lnTo>
                    <a:pt x="67" y="83"/>
                  </a:lnTo>
                  <a:lnTo>
                    <a:pt x="67" y="314"/>
                  </a:lnTo>
                  <a:lnTo>
                    <a:pt x="2" y="314"/>
                  </a:lnTo>
                  <a:lnTo>
                    <a:pt x="2" y="83"/>
                  </a:lnTo>
                  <a:close/>
                  <a:moveTo>
                    <a:pt x="0" y="0"/>
                  </a:moveTo>
                  <a:lnTo>
                    <a:pt x="69" y="0"/>
                  </a:lnTo>
                  <a:lnTo>
                    <a:pt x="69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1" name="Freeform 43">
              <a:extLst>
                <a:ext uri="{FF2B5EF4-FFF2-40B4-BE49-F238E27FC236}">
                  <a16:creationId xmlns:a16="http://schemas.microsoft.com/office/drawing/2014/main" id="{88867ED9-A539-1D01-68D4-58268F5668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" y="410"/>
              <a:ext cx="31" cy="43"/>
            </a:xfrm>
            <a:custGeom>
              <a:avLst/>
              <a:gdLst>
                <a:gd name="T0" fmla="*/ 148 w 249"/>
                <a:gd name="T1" fmla="*/ 0 h 337"/>
                <a:gd name="T2" fmla="*/ 205 w 249"/>
                <a:gd name="T3" fmla="*/ 24 h 337"/>
                <a:gd name="T4" fmla="*/ 149 w 249"/>
                <a:gd name="T5" fmla="*/ 76 h 337"/>
                <a:gd name="T6" fmla="*/ 99 w 249"/>
                <a:gd name="T7" fmla="*/ 76 h 337"/>
                <a:gd name="T8" fmla="*/ 148 w 249"/>
                <a:gd name="T9" fmla="*/ 0 h 337"/>
                <a:gd name="T10" fmla="*/ 125 w 249"/>
                <a:gd name="T11" fmla="*/ 281 h 337"/>
                <a:gd name="T12" fmla="*/ 150 w 249"/>
                <a:gd name="T13" fmla="*/ 276 h 337"/>
                <a:gd name="T14" fmla="*/ 169 w 249"/>
                <a:gd name="T15" fmla="*/ 262 h 337"/>
                <a:gd name="T16" fmla="*/ 181 w 249"/>
                <a:gd name="T17" fmla="*/ 242 h 337"/>
                <a:gd name="T18" fmla="*/ 185 w 249"/>
                <a:gd name="T19" fmla="*/ 218 h 337"/>
                <a:gd name="T20" fmla="*/ 185 w 249"/>
                <a:gd name="T21" fmla="*/ 217 h 337"/>
                <a:gd name="T22" fmla="*/ 180 w 249"/>
                <a:gd name="T23" fmla="*/ 193 h 337"/>
                <a:gd name="T24" fmla="*/ 168 w 249"/>
                <a:gd name="T25" fmla="*/ 173 h 337"/>
                <a:gd name="T26" fmla="*/ 149 w 249"/>
                <a:gd name="T27" fmla="*/ 159 h 337"/>
                <a:gd name="T28" fmla="*/ 124 w 249"/>
                <a:gd name="T29" fmla="*/ 153 h 337"/>
                <a:gd name="T30" fmla="*/ 99 w 249"/>
                <a:gd name="T31" fmla="*/ 158 h 337"/>
                <a:gd name="T32" fmla="*/ 80 w 249"/>
                <a:gd name="T33" fmla="*/ 172 h 337"/>
                <a:gd name="T34" fmla="*/ 68 w 249"/>
                <a:gd name="T35" fmla="*/ 192 h 337"/>
                <a:gd name="T36" fmla="*/ 64 w 249"/>
                <a:gd name="T37" fmla="*/ 216 h 337"/>
                <a:gd name="T38" fmla="*/ 64 w 249"/>
                <a:gd name="T39" fmla="*/ 217 h 337"/>
                <a:gd name="T40" fmla="*/ 68 w 249"/>
                <a:gd name="T41" fmla="*/ 241 h 337"/>
                <a:gd name="T42" fmla="*/ 81 w 249"/>
                <a:gd name="T43" fmla="*/ 262 h 337"/>
                <a:gd name="T44" fmla="*/ 100 w 249"/>
                <a:gd name="T45" fmla="*/ 276 h 337"/>
                <a:gd name="T46" fmla="*/ 125 w 249"/>
                <a:gd name="T47" fmla="*/ 281 h 337"/>
                <a:gd name="T48" fmla="*/ 124 w 249"/>
                <a:gd name="T49" fmla="*/ 337 h 337"/>
                <a:gd name="T50" fmla="*/ 74 w 249"/>
                <a:gd name="T51" fmla="*/ 328 h 337"/>
                <a:gd name="T52" fmla="*/ 35 w 249"/>
                <a:gd name="T53" fmla="*/ 303 h 337"/>
                <a:gd name="T54" fmla="*/ 9 w 249"/>
                <a:gd name="T55" fmla="*/ 265 h 337"/>
                <a:gd name="T56" fmla="*/ 0 w 249"/>
                <a:gd name="T57" fmla="*/ 218 h 337"/>
                <a:gd name="T58" fmla="*/ 0 w 249"/>
                <a:gd name="T59" fmla="*/ 217 h 337"/>
                <a:gd name="T60" fmla="*/ 9 w 249"/>
                <a:gd name="T61" fmla="*/ 170 h 337"/>
                <a:gd name="T62" fmla="*/ 35 w 249"/>
                <a:gd name="T63" fmla="*/ 132 h 337"/>
                <a:gd name="T64" fmla="*/ 75 w 249"/>
                <a:gd name="T65" fmla="*/ 106 h 337"/>
                <a:gd name="T66" fmla="*/ 125 w 249"/>
                <a:gd name="T67" fmla="*/ 97 h 337"/>
                <a:gd name="T68" fmla="*/ 174 w 249"/>
                <a:gd name="T69" fmla="*/ 106 h 337"/>
                <a:gd name="T70" fmla="*/ 214 w 249"/>
                <a:gd name="T71" fmla="*/ 132 h 337"/>
                <a:gd name="T72" fmla="*/ 240 w 249"/>
                <a:gd name="T73" fmla="*/ 170 h 337"/>
                <a:gd name="T74" fmla="*/ 249 w 249"/>
                <a:gd name="T75" fmla="*/ 216 h 337"/>
                <a:gd name="T76" fmla="*/ 249 w 249"/>
                <a:gd name="T77" fmla="*/ 217 h 337"/>
                <a:gd name="T78" fmla="*/ 240 w 249"/>
                <a:gd name="T79" fmla="*/ 264 h 337"/>
                <a:gd name="T80" fmla="*/ 214 w 249"/>
                <a:gd name="T81" fmla="*/ 302 h 337"/>
                <a:gd name="T82" fmla="*/ 174 w 249"/>
                <a:gd name="T83" fmla="*/ 328 h 337"/>
                <a:gd name="T84" fmla="*/ 124 w 249"/>
                <a:gd name="T85" fmla="*/ 33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9" h="337">
                  <a:moveTo>
                    <a:pt x="148" y="0"/>
                  </a:moveTo>
                  <a:lnTo>
                    <a:pt x="205" y="24"/>
                  </a:lnTo>
                  <a:lnTo>
                    <a:pt x="149" y="76"/>
                  </a:lnTo>
                  <a:lnTo>
                    <a:pt x="99" y="76"/>
                  </a:lnTo>
                  <a:lnTo>
                    <a:pt x="148" y="0"/>
                  </a:lnTo>
                  <a:close/>
                  <a:moveTo>
                    <a:pt x="125" y="281"/>
                  </a:moveTo>
                  <a:cubicBezTo>
                    <a:pt x="134" y="281"/>
                    <a:pt x="143" y="279"/>
                    <a:pt x="150" y="276"/>
                  </a:cubicBezTo>
                  <a:cubicBezTo>
                    <a:pt x="157" y="273"/>
                    <a:pt x="164" y="268"/>
                    <a:pt x="169" y="262"/>
                  </a:cubicBezTo>
                  <a:cubicBezTo>
                    <a:pt x="174" y="257"/>
                    <a:pt x="178" y="250"/>
                    <a:pt x="181" y="242"/>
                  </a:cubicBezTo>
                  <a:cubicBezTo>
                    <a:pt x="183" y="235"/>
                    <a:pt x="185" y="227"/>
                    <a:pt x="185" y="218"/>
                  </a:cubicBezTo>
                  <a:lnTo>
                    <a:pt x="185" y="217"/>
                  </a:lnTo>
                  <a:cubicBezTo>
                    <a:pt x="185" y="209"/>
                    <a:pt x="183" y="200"/>
                    <a:pt x="180" y="193"/>
                  </a:cubicBezTo>
                  <a:cubicBezTo>
                    <a:pt x="178" y="185"/>
                    <a:pt x="173" y="178"/>
                    <a:pt x="168" y="173"/>
                  </a:cubicBezTo>
                  <a:cubicBezTo>
                    <a:pt x="163" y="167"/>
                    <a:pt x="156" y="162"/>
                    <a:pt x="149" y="159"/>
                  </a:cubicBezTo>
                  <a:cubicBezTo>
                    <a:pt x="141" y="155"/>
                    <a:pt x="133" y="153"/>
                    <a:pt x="124" y="153"/>
                  </a:cubicBezTo>
                  <a:cubicBezTo>
                    <a:pt x="115" y="153"/>
                    <a:pt x="106" y="155"/>
                    <a:pt x="99" y="158"/>
                  </a:cubicBezTo>
                  <a:cubicBezTo>
                    <a:pt x="92" y="162"/>
                    <a:pt x="85" y="166"/>
                    <a:pt x="80" y="172"/>
                  </a:cubicBezTo>
                  <a:cubicBezTo>
                    <a:pt x="75" y="178"/>
                    <a:pt x="71" y="184"/>
                    <a:pt x="68" y="192"/>
                  </a:cubicBezTo>
                  <a:cubicBezTo>
                    <a:pt x="66" y="200"/>
                    <a:pt x="64" y="208"/>
                    <a:pt x="64" y="216"/>
                  </a:cubicBezTo>
                  <a:lnTo>
                    <a:pt x="64" y="217"/>
                  </a:lnTo>
                  <a:cubicBezTo>
                    <a:pt x="64" y="226"/>
                    <a:pt x="66" y="234"/>
                    <a:pt x="68" y="241"/>
                  </a:cubicBezTo>
                  <a:cubicBezTo>
                    <a:pt x="71" y="249"/>
                    <a:pt x="75" y="256"/>
                    <a:pt x="81" y="262"/>
                  </a:cubicBezTo>
                  <a:cubicBezTo>
                    <a:pt x="86" y="268"/>
                    <a:pt x="93" y="272"/>
                    <a:pt x="100" y="276"/>
                  </a:cubicBezTo>
                  <a:cubicBezTo>
                    <a:pt x="107" y="279"/>
                    <a:pt x="116" y="281"/>
                    <a:pt x="125" y="281"/>
                  </a:cubicBezTo>
                  <a:close/>
                  <a:moveTo>
                    <a:pt x="124" y="337"/>
                  </a:moveTo>
                  <a:cubicBezTo>
                    <a:pt x="106" y="337"/>
                    <a:pt x="90" y="334"/>
                    <a:pt x="74" y="328"/>
                  </a:cubicBezTo>
                  <a:cubicBezTo>
                    <a:pt x="59" y="322"/>
                    <a:pt x="46" y="313"/>
                    <a:pt x="35" y="303"/>
                  </a:cubicBezTo>
                  <a:cubicBezTo>
                    <a:pt x="24" y="292"/>
                    <a:pt x="15" y="279"/>
                    <a:pt x="9" y="265"/>
                  </a:cubicBezTo>
                  <a:cubicBezTo>
                    <a:pt x="3" y="250"/>
                    <a:pt x="0" y="235"/>
                    <a:pt x="0" y="218"/>
                  </a:cubicBezTo>
                  <a:lnTo>
                    <a:pt x="0" y="217"/>
                  </a:lnTo>
                  <a:cubicBezTo>
                    <a:pt x="0" y="200"/>
                    <a:pt x="3" y="185"/>
                    <a:pt x="9" y="170"/>
                  </a:cubicBezTo>
                  <a:cubicBezTo>
                    <a:pt x="15" y="156"/>
                    <a:pt x="24" y="143"/>
                    <a:pt x="35" y="132"/>
                  </a:cubicBezTo>
                  <a:cubicBezTo>
                    <a:pt x="46" y="121"/>
                    <a:pt x="60" y="113"/>
                    <a:pt x="75" y="106"/>
                  </a:cubicBezTo>
                  <a:cubicBezTo>
                    <a:pt x="90" y="100"/>
                    <a:pt x="107" y="97"/>
                    <a:pt x="125" y="97"/>
                  </a:cubicBezTo>
                  <a:cubicBezTo>
                    <a:pt x="143" y="97"/>
                    <a:pt x="159" y="100"/>
                    <a:pt x="174" y="106"/>
                  </a:cubicBezTo>
                  <a:cubicBezTo>
                    <a:pt x="190" y="112"/>
                    <a:pt x="203" y="121"/>
                    <a:pt x="214" y="132"/>
                  </a:cubicBezTo>
                  <a:cubicBezTo>
                    <a:pt x="225" y="142"/>
                    <a:pt x="234" y="155"/>
                    <a:pt x="240" y="170"/>
                  </a:cubicBezTo>
                  <a:cubicBezTo>
                    <a:pt x="246" y="184"/>
                    <a:pt x="249" y="200"/>
                    <a:pt x="249" y="216"/>
                  </a:cubicBezTo>
                  <a:lnTo>
                    <a:pt x="249" y="217"/>
                  </a:lnTo>
                  <a:cubicBezTo>
                    <a:pt x="249" y="234"/>
                    <a:pt x="246" y="249"/>
                    <a:pt x="240" y="264"/>
                  </a:cubicBezTo>
                  <a:cubicBezTo>
                    <a:pt x="234" y="278"/>
                    <a:pt x="225" y="291"/>
                    <a:pt x="214" y="302"/>
                  </a:cubicBezTo>
                  <a:cubicBezTo>
                    <a:pt x="202" y="313"/>
                    <a:pt x="189" y="322"/>
                    <a:pt x="174" y="328"/>
                  </a:cubicBezTo>
                  <a:cubicBezTo>
                    <a:pt x="159" y="334"/>
                    <a:pt x="142" y="337"/>
                    <a:pt x="124" y="337"/>
                  </a:cubicBez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2" name="Freeform 44">
              <a:extLst>
                <a:ext uri="{FF2B5EF4-FFF2-40B4-BE49-F238E27FC236}">
                  <a16:creationId xmlns:a16="http://schemas.microsoft.com/office/drawing/2014/main" id="{CFAA2D04-61AC-5D1C-9CB7-0AFBBDFA43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5" y="422"/>
              <a:ext cx="26" cy="30"/>
            </a:xfrm>
            <a:custGeom>
              <a:avLst/>
              <a:gdLst>
                <a:gd name="T0" fmla="*/ 0 w 211"/>
                <a:gd name="T1" fmla="*/ 4 h 235"/>
                <a:gd name="T2" fmla="*/ 65 w 211"/>
                <a:gd name="T3" fmla="*/ 4 h 235"/>
                <a:gd name="T4" fmla="*/ 65 w 211"/>
                <a:gd name="T5" fmla="*/ 37 h 235"/>
                <a:gd name="T6" fmla="*/ 78 w 211"/>
                <a:gd name="T7" fmla="*/ 23 h 235"/>
                <a:gd name="T8" fmla="*/ 92 w 211"/>
                <a:gd name="T9" fmla="*/ 11 h 235"/>
                <a:gd name="T10" fmla="*/ 111 w 211"/>
                <a:gd name="T11" fmla="*/ 3 h 235"/>
                <a:gd name="T12" fmla="*/ 133 w 211"/>
                <a:gd name="T13" fmla="*/ 0 h 235"/>
                <a:gd name="T14" fmla="*/ 191 w 211"/>
                <a:gd name="T15" fmla="*/ 23 h 235"/>
                <a:gd name="T16" fmla="*/ 211 w 211"/>
                <a:gd name="T17" fmla="*/ 86 h 235"/>
                <a:gd name="T18" fmla="*/ 211 w 211"/>
                <a:gd name="T19" fmla="*/ 235 h 235"/>
                <a:gd name="T20" fmla="*/ 146 w 211"/>
                <a:gd name="T21" fmla="*/ 235 h 235"/>
                <a:gd name="T22" fmla="*/ 146 w 211"/>
                <a:gd name="T23" fmla="*/ 107 h 235"/>
                <a:gd name="T24" fmla="*/ 135 w 211"/>
                <a:gd name="T25" fmla="*/ 72 h 235"/>
                <a:gd name="T26" fmla="*/ 106 w 211"/>
                <a:gd name="T27" fmla="*/ 60 h 235"/>
                <a:gd name="T28" fmla="*/ 76 w 211"/>
                <a:gd name="T29" fmla="*/ 72 h 235"/>
                <a:gd name="T30" fmla="*/ 65 w 211"/>
                <a:gd name="T31" fmla="*/ 107 h 235"/>
                <a:gd name="T32" fmla="*/ 65 w 211"/>
                <a:gd name="T33" fmla="*/ 235 h 235"/>
                <a:gd name="T34" fmla="*/ 0 w 211"/>
                <a:gd name="T35" fmla="*/ 235 h 235"/>
                <a:gd name="T36" fmla="*/ 0 w 211"/>
                <a:gd name="T37" fmla="*/ 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1" h="235">
                  <a:moveTo>
                    <a:pt x="0" y="4"/>
                  </a:moveTo>
                  <a:lnTo>
                    <a:pt x="65" y="4"/>
                  </a:lnTo>
                  <a:lnTo>
                    <a:pt x="65" y="37"/>
                  </a:lnTo>
                  <a:cubicBezTo>
                    <a:pt x="69" y="32"/>
                    <a:pt x="73" y="28"/>
                    <a:pt x="78" y="23"/>
                  </a:cubicBezTo>
                  <a:cubicBezTo>
                    <a:pt x="82" y="19"/>
                    <a:pt x="87" y="15"/>
                    <a:pt x="92" y="11"/>
                  </a:cubicBezTo>
                  <a:cubicBezTo>
                    <a:pt x="98" y="8"/>
                    <a:pt x="104" y="5"/>
                    <a:pt x="111" y="3"/>
                  </a:cubicBezTo>
                  <a:cubicBezTo>
                    <a:pt x="117" y="1"/>
                    <a:pt x="125" y="0"/>
                    <a:pt x="133" y="0"/>
                  </a:cubicBezTo>
                  <a:cubicBezTo>
                    <a:pt x="158" y="0"/>
                    <a:pt x="177" y="8"/>
                    <a:pt x="191" y="23"/>
                  </a:cubicBezTo>
                  <a:cubicBezTo>
                    <a:pt x="204" y="38"/>
                    <a:pt x="211" y="59"/>
                    <a:pt x="211" y="86"/>
                  </a:cubicBezTo>
                  <a:lnTo>
                    <a:pt x="211" y="235"/>
                  </a:lnTo>
                  <a:lnTo>
                    <a:pt x="146" y="235"/>
                  </a:lnTo>
                  <a:lnTo>
                    <a:pt x="146" y="107"/>
                  </a:lnTo>
                  <a:cubicBezTo>
                    <a:pt x="146" y="91"/>
                    <a:pt x="142" y="80"/>
                    <a:pt x="135" y="72"/>
                  </a:cubicBezTo>
                  <a:cubicBezTo>
                    <a:pt x="129" y="64"/>
                    <a:pt x="119" y="60"/>
                    <a:pt x="106" y="60"/>
                  </a:cubicBezTo>
                  <a:cubicBezTo>
                    <a:pt x="94" y="60"/>
                    <a:pt x="84" y="64"/>
                    <a:pt x="76" y="72"/>
                  </a:cubicBezTo>
                  <a:cubicBezTo>
                    <a:pt x="69" y="80"/>
                    <a:pt x="65" y="91"/>
                    <a:pt x="65" y="107"/>
                  </a:cubicBezTo>
                  <a:lnTo>
                    <a:pt x="65" y="235"/>
                  </a:lnTo>
                  <a:lnTo>
                    <a:pt x="0" y="235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3" name="Freeform 45">
              <a:extLst>
                <a:ext uri="{FF2B5EF4-FFF2-40B4-BE49-F238E27FC236}">
                  <a16:creationId xmlns:a16="http://schemas.microsoft.com/office/drawing/2014/main" id="{E3259BD0-AA5A-C67E-26E4-F5EE9716E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6" y="478"/>
              <a:ext cx="30" cy="39"/>
            </a:xfrm>
            <a:custGeom>
              <a:avLst/>
              <a:gdLst>
                <a:gd name="T0" fmla="*/ 75 w 240"/>
                <a:gd name="T1" fmla="*/ 301 h 301"/>
                <a:gd name="T2" fmla="*/ 44 w 240"/>
                <a:gd name="T3" fmla="*/ 297 h 301"/>
                <a:gd name="T4" fmla="*/ 17 w 240"/>
                <a:gd name="T5" fmla="*/ 285 h 301"/>
                <a:gd name="T6" fmla="*/ 39 w 240"/>
                <a:gd name="T7" fmla="*/ 238 h 301"/>
                <a:gd name="T8" fmla="*/ 53 w 240"/>
                <a:gd name="T9" fmla="*/ 244 h 301"/>
                <a:gd name="T10" fmla="*/ 67 w 240"/>
                <a:gd name="T11" fmla="*/ 247 h 301"/>
                <a:gd name="T12" fmla="*/ 81 w 240"/>
                <a:gd name="T13" fmla="*/ 243 h 301"/>
                <a:gd name="T14" fmla="*/ 90 w 240"/>
                <a:gd name="T15" fmla="*/ 231 h 301"/>
                <a:gd name="T16" fmla="*/ 0 w 240"/>
                <a:gd name="T17" fmla="*/ 0 h 301"/>
                <a:gd name="T18" fmla="*/ 69 w 240"/>
                <a:gd name="T19" fmla="*/ 0 h 301"/>
                <a:gd name="T20" fmla="*/ 122 w 240"/>
                <a:gd name="T21" fmla="*/ 157 h 301"/>
                <a:gd name="T22" fmla="*/ 172 w 240"/>
                <a:gd name="T23" fmla="*/ 0 h 301"/>
                <a:gd name="T24" fmla="*/ 240 w 240"/>
                <a:gd name="T25" fmla="*/ 0 h 301"/>
                <a:gd name="T26" fmla="*/ 151 w 240"/>
                <a:gd name="T27" fmla="*/ 236 h 301"/>
                <a:gd name="T28" fmla="*/ 137 w 240"/>
                <a:gd name="T29" fmla="*/ 266 h 301"/>
                <a:gd name="T30" fmla="*/ 121 w 240"/>
                <a:gd name="T31" fmla="*/ 286 h 301"/>
                <a:gd name="T32" fmla="*/ 101 w 240"/>
                <a:gd name="T33" fmla="*/ 297 h 301"/>
                <a:gd name="T34" fmla="*/ 75 w 240"/>
                <a:gd name="T35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301">
                  <a:moveTo>
                    <a:pt x="75" y="301"/>
                  </a:moveTo>
                  <a:cubicBezTo>
                    <a:pt x="63" y="301"/>
                    <a:pt x="53" y="299"/>
                    <a:pt x="44" y="297"/>
                  </a:cubicBezTo>
                  <a:cubicBezTo>
                    <a:pt x="34" y="294"/>
                    <a:pt x="26" y="290"/>
                    <a:pt x="17" y="285"/>
                  </a:cubicBezTo>
                  <a:lnTo>
                    <a:pt x="39" y="238"/>
                  </a:lnTo>
                  <a:cubicBezTo>
                    <a:pt x="44" y="240"/>
                    <a:pt x="48" y="242"/>
                    <a:pt x="53" y="244"/>
                  </a:cubicBezTo>
                  <a:cubicBezTo>
                    <a:pt x="58" y="246"/>
                    <a:pt x="63" y="247"/>
                    <a:pt x="67" y="247"/>
                  </a:cubicBezTo>
                  <a:cubicBezTo>
                    <a:pt x="73" y="247"/>
                    <a:pt x="78" y="245"/>
                    <a:pt x="81" y="243"/>
                  </a:cubicBezTo>
                  <a:cubicBezTo>
                    <a:pt x="84" y="241"/>
                    <a:pt x="87" y="237"/>
                    <a:pt x="90" y="231"/>
                  </a:cubicBezTo>
                  <a:lnTo>
                    <a:pt x="0" y="0"/>
                  </a:lnTo>
                  <a:lnTo>
                    <a:pt x="69" y="0"/>
                  </a:lnTo>
                  <a:lnTo>
                    <a:pt x="122" y="157"/>
                  </a:lnTo>
                  <a:lnTo>
                    <a:pt x="172" y="0"/>
                  </a:lnTo>
                  <a:lnTo>
                    <a:pt x="240" y="0"/>
                  </a:lnTo>
                  <a:lnTo>
                    <a:pt x="151" y="236"/>
                  </a:lnTo>
                  <a:cubicBezTo>
                    <a:pt x="147" y="248"/>
                    <a:pt x="142" y="258"/>
                    <a:pt x="137" y="266"/>
                  </a:cubicBezTo>
                  <a:cubicBezTo>
                    <a:pt x="133" y="274"/>
                    <a:pt x="127" y="281"/>
                    <a:pt x="121" y="286"/>
                  </a:cubicBezTo>
                  <a:cubicBezTo>
                    <a:pt x="115" y="291"/>
                    <a:pt x="109" y="295"/>
                    <a:pt x="101" y="297"/>
                  </a:cubicBezTo>
                  <a:cubicBezTo>
                    <a:pt x="94" y="300"/>
                    <a:pt x="85" y="301"/>
                    <a:pt x="75" y="301"/>
                  </a:cubicBez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4" name="Freeform 46">
              <a:extLst>
                <a:ext uri="{FF2B5EF4-FFF2-40B4-BE49-F238E27FC236}">
                  <a16:creationId xmlns:a16="http://schemas.microsoft.com/office/drawing/2014/main" id="{625C9B00-A443-812B-12DB-0B062F74E4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8" y="469"/>
              <a:ext cx="32" cy="39"/>
            </a:xfrm>
            <a:custGeom>
              <a:avLst/>
              <a:gdLst>
                <a:gd name="T0" fmla="*/ 133 w 261"/>
                <a:gd name="T1" fmla="*/ 147 h 302"/>
                <a:gd name="T2" fmla="*/ 171 w 261"/>
                <a:gd name="T3" fmla="*/ 135 h 302"/>
                <a:gd name="T4" fmla="*/ 184 w 261"/>
                <a:gd name="T5" fmla="*/ 104 h 302"/>
                <a:gd name="T6" fmla="*/ 184 w 261"/>
                <a:gd name="T7" fmla="*/ 103 h 302"/>
                <a:gd name="T8" fmla="*/ 170 w 261"/>
                <a:gd name="T9" fmla="*/ 71 h 302"/>
                <a:gd name="T10" fmla="*/ 132 w 261"/>
                <a:gd name="T11" fmla="*/ 60 h 302"/>
                <a:gd name="T12" fmla="*/ 66 w 261"/>
                <a:gd name="T13" fmla="*/ 60 h 302"/>
                <a:gd name="T14" fmla="*/ 66 w 261"/>
                <a:gd name="T15" fmla="*/ 147 h 302"/>
                <a:gd name="T16" fmla="*/ 133 w 261"/>
                <a:gd name="T17" fmla="*/ 147 h 302"/>
                <a:gd name="T18" fmla="*/ 0 w 261"/>
                <a:gd name="T19" fmla="*/ 0 h 302"/>
                <a:gd name="T20" fmla="*/ 138 w 261"/>
                <a:gd name="T21" fmla="*/ 0 h 302"/>
                <a:gd name="T22" fmla="*/ 226 w 261"/>
                <a:gd name="T23" fmla="*/ 31 h 302"/>
                <a:gd name="T24" fmla="*/ 251 w 261"/>
                <a:gd name="T25" fmla="*/ 100 h 302"/>
                <a:gd name="T26" fmla="*/ 251 w 261"/>
                <a:gd name="T27" fmla="*/ 100 h 302"/>
                <a:gd name="T28" fmla="*/ 234 w 261"/>
                <a:gd name="T29" fmla="*/ 160 h 302"/>
                <a:gd name="T30" fmla="*/ 187 w 261"/>
                <a:gd name="T31" fmla="*/ 194 h 302"/>
                <a:gd name="T32" fmla="*/ 261 w 261"/>
                <a:gd name="T33" fmla="*/ 302 h 302"/>
                <a:gd name="T34" fmla="*/ 183 w 261"/>
                <a:gd name="T35" fmla="*/ 302 h 302"/>
                <a:gd name="T36" fmla="*/ 118 w 261"/>
                <a:gd name="T37" fmla="*/ 205 h 302"/>
                <a:gd name="T38" fmla="*/ 118 w 261"/>
                <a:gd name="T39" fmla="*/ 205 h 302"/>
                <a:gd name="T40" fmla="*/ 66 w 261"/>
                <a:gd name="T41" fmla="*/ 205 h 302"/>
                <a:gd name="T42" fmla="*/ 66 w 261"/>
                <a:gd name="T43" fmla="*/ 302 h 302"/>
                <a:gd name="T44" fmla="*/ 0 w 261"/>
                <a:gd name="T45" fmla="*/ 302 h 302"/>
                <a:gd name="T46" fmla="*/ 0 w 261"/>
                <a:gd name="T4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1" h="302">
                  <a:moveTo>
                    <a:pt x="133" y="147"/>
                  </a:moveTo>
                  <a:cubicBezTo>
                    <a:pt x="150" y="147"/>
                    <a:pt x="162" y="143"/>
                    <a:pt x="171" y="135"/>
                  </a:cubicBezTo>
                  <a:cubicBezTo>
                    <a:pt x="180" y="127"/>
                    <a:pt x="184" y="117"/>
                    <a:pt x="184" y="104"/>
                  </a:cubicBezTo>
                  <a:lnTo>
                    <a:pt x="184" y="103"/>
                  </a:lnTo>
                  <a:cubicBezTo>
                    <a:pt x="184" y="89"/>
                    <a:pt x="180" y="78"/>
                    <a:pt x="170" y="71"/>
                  </a:cubicBezTo>
                  <a:cubicBezTo>
                    <a:pt x="161" y="64"/>
                    <a:pt x="149" y="60"/>
                    <a:pt x="132" y="60"/>
                  </a:cubicBezTo>
                  <a:lnTo>
                    <a:pt x="66" y="60"/>
                  </a:lnTo>
                  <a:lnTo>
                    <a:pt x="66" y="147"/>
                  </a:lnTo>
                  <a:lnTo>
                    <a:pt x="133" y="147"/>
                  </a:lnTo>
                  <a:close/>
                  <a:moveTo>
                    <a:pt x="0" y="0"/>
                  </a:moveTo>
                  <a:lnTo>
                    <a:pt x="138" y="0"/>
                  </a:lnTo>
                  <a:cubicBezTo>
                    <a:pt x="176" y="0"/>
                    <a:pt x="205" y="10"/>
                    <a:pt x="226" y="31"/>
                  </a:cubicBezTo>
                  <a:cubicBezTo>
                    <a:pt x="243" y="48"/>
                    <a:pt x="251" y="71"/>
                    <a:pt x="251" y="100"/>
                  </a:cubicBezTo>
                  <a:lnTo>
                    <a:pt x="251" y="100"/>
                  </a:lnTo>
                  <a:cubicBezTo>
                    <a:pt x="251" y="125"/>
                    <a:pt x="246" y="145"/>
                    <a:pt x="234" y="160"/>
                  </a:cubicBezTo>
                  <a:cubicBezTo>
                    <a:pt x="222" y="175"/>
                    <a:pt x="206" y="187"/>
                    <a:pt x="187" y="194"/>
                  </a:cubicBezTo>
                  <a:lnTo>
                    <a:pt x="261" y="302"/>
                  </a:lnTo>
                  <a:lnTo>
                    <a:pt x="183" y="302"/>
                  </a:lnTo>
                  <a:lnTo>
                    <a:pt x="118" y="205"/>
                  </a:lnTo>
                  <a:lnTo>
                    <a:pt x="118" y="205"/>
                  </a:lnTo>
                  <a:lnTo>
                    <a:pt x="66" y="205"/>
                  </a:lnTo>
                  <a:lnTo>
                    <a:pt x="66" y="302"/>
                  </a:lnTo>
                  <a:lnTo>
                    <a:pt x="0" y="302"/>
                  </a:lnTo>
                  <a:lnTo>
                    <a:pt x="0" y="0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5" name="Freeform 47">
              <a:extLst>
                <a:ext uri="{FF2B5EF4-FFF2-40B4-BE49-F238E27FC236}">
                  <a16:creationId xmlns:a16="http://schemas.microsoft.com/office/drawing/2014/main" id="{BEA51B18-2A76-DA3A-B7C9-4A881DEEA4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4" y="478"/>
              <a:ext cx="28" cy="30"/>
            </a:xfrm>
            <a:custGeom>
              <a:avLst/>
              <a:gdLst>
                <a:gd name="T0" fmla="*/ 163 w 227"/>
                <a:gd name="T1" fmla="*/ 102 h 241"/>
                <a:gd name="T2" fmla="*/ 148 w 227"/>
                <a:gd name="T3" fmla="*/ 67 h 241"/>
                <a:gd name="T4" fmla="*/ 114 w 227"/>
                <a:gd name="T5" fmla="*/ 53 h 241"/>
                <a:gd name="T6" fmla="*/ 81 w 227"/>
                <a:gd name="T7" fmla="*/ 66 h 241"/>
                <a:gd name="T8" fmla="*/ 64 w 227"/>
                <a:gd name="T9" fmla="*/ 102 h 241"/>
                <a:gd name="T10" fmla="*/ 163 w 227"/>
                <a:gd name="T11" fmla="*/ 102 h 241"/>
                <a:gd name="T12" fmla="*/ 121 w 227"/>
                <a:gd name="T13" fmla="*/ 241 h 241"/>
                <a:gd name="T14" fmla="*/ 73 w 227"/>
                <a:gd name="T15" fmla="*/ 232 h 241"/>
                <a:gd name="T16" fmla="*/ 35 w 227"/>
                <a:gd name="T17" fmla="*/ 208 h 241"/>
                <a:gd name="T18" fmla="*/ 9 w 227"/>
                <a:gd name="T19" fmla="*/ 170 h 241"/>
                <a:gd name="T20" fmla="*/ 0 w 227"/>
                <a:gd name="T21" fmla="*/ 121 h 241"/>
                <a:gd name="T22" fmla="*/ 0 w 227"/>
                <a:gd name="T23" fmla="*/ 121 h 241"/>
                <a:gd name="T24" fmla="*/ 9 w 227"/>
                <a:gd name="T25" fmla="*/ 74 h 241"/>
                <a:gd name="T26" fmla="*/ 32 w 227"/>
                <a:gd name="T27" fmla="*/ 36 h 241"/>
                <a:gd name="T28" fmla="*/ 68 w 227"/>
                <a:gd name="T29" fmla="*/ 10 h 241"/>
                <a:gd name="T30" fmla="*/ 114 w 227"/>
                <a:gd name="T31" fmla="*/ 0 h 241"/>
                <a:gd name="T32" fmla="*/ 164 w 227"/>
                <a:gd name="T33" fmla="*/ 11 h 241"/>
                <a:gd name="T34" fmla="*/ 200 w 227"/>
                <a:gd name="T35" fmla="*/ 39 h 241"/>
                <a:gd name="T36" fmla="*/ 220 w 227"/>
                <a:gd name="T37" fmla="*/ 79 h 241"/>
                <a:gd name="T38" fmla="*/ 227 w 227"/>
                <a:gd name="T39" fmla="*/ 126 h 241"/>
                <a:gd name="T40" fmla="*/ 227 w 227"/>
                <a:gd name="T41" fmla="*/ 134 h 241"/>
                <a:gd name="T42" fmla="*/ 226 w 227"/>
                <a:gd name="T43" fmla="*/ 143 h 241"/>
                <a:gd name="T44" fmla="*/ 65 w 227"/>
                <a:gd name="T45" fmla="*/ 143 h 241"/>
                <a:gd name="T46" fmla="*/ 85 w 227"/>
                <a:gd name="T47" fmla="*/ 177 h 241"/>
                <a:gd name="T48" fmla="*/ 122 w 227"/>
                <a:gd name="T49" fmla="*/ 188 h 241"/>
                <a:gd name="T50" fmla="*/ 151 w 227"/>
                <a:gd name="T51" fmla="*/ 183 h 241"/>
                <a:gd name="T52" fmla="*/ 178 w 227"/>
                <a:gd name="T53" fmla="*/ 165 h 241"/>
                <a:gd name="T54" fmla="*/ 215 w 227"/>
                <a:gd name="T55" fmla="*/ 198 h 241"/>
                <a:gd name="T56" fmla="*/ 176 w 227"/>
                <a:gd name="T57" fmla="*/ 229 h 241"/>
                <a:gd name="T58" fmla="*/ 121 w 227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7" h="241">
                  <a:moveTo>
                    <a:pt x="163" y="102"/>
                  </a:moveTo>
                  <a:cubicBezTo>
                    <a:pt x="161" y="87"/>
                    <a:pt x="156" y="76"/>
                    <a:pt x="148" y="67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1" y="53"/>
                    <a:pt x="90" y="57"/>
                    <a:pt x="81" y="66"/>
                  </a:cubicBezTo>
                  <a:cubicBezTo>
                    <a:pt x="73" y="75"/>
                    <a:pt x="67" y="87"/>
                    <a:pt x="64" y="102"/>
                  </a:cubicBezTo>
                  <a:lnTo>
                    <a:pt x="163" y="102"/>
                  </a:lnTo>
                  <a:close/>
                  <a:moveTo>
                    <a:pt x="121" y="241"/>
                  </a:moveTo>
                  <a:cubicBezTo>
                    <a:pt x="104" y="241"/>
                    <a:pt x="88" y="238"/>
                    <a:pt x="73" y="232"/>
                  </a:cubicBezTo>
                  <a:cubicBezTo>
                    <a:pt x="58" y="226"/>
                    <a:pt x="45" y="218"/>
                    <a:pt x="35" y="208"/>
                  </a:cubicBezTo>
                  <a:cubicBezTo>
                    <a:pt x="24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9" y="74"/>
                  </a:cubicBezTo>
                  <a:cubicBezTo>
                    <a:pt x="14" y="59"/>
                    <a:pt x="22" y="47"/>
                    <a:pt x="32" y="36"/>
                  </a:cubicBezTo>
                  <a:cubicBezTo>
                    <a:pt x="42" y="25"/>
                    <a:pt x="54" y="16"/>
                    <a:pt x="68" y="10"/>
                  </a:cubicBezTo>
                  <a:cubicBezTo>
                    <a:pt x="82" y="4"/>
                    <a:pt x="97" y="0"/>
                    <a:pt x="114" y="0"/>
                  </a:cubicBezTo>
                  <a:cubicBezTo>
                    <a:pt x="134" y="0"/>
                    <a:pt x="150" y="4"/>
                    <a:pt x="164" y="11"/>
                  </a:cubicBezTo>
                  <a:cubicBezTo>
                    <a:pt x="178" y="18"/>
                    <a:pt x="190" y="27"/>
                    <a:pt x="200" y="39"/>
                  </a:cubicBezTo>
                  <a:cubicBezTo>
                    <a:pt x="209" y="50"/>
                    <a:pt x="216" y="64"/>
                    <a:pt x="220" y="79"/>
                  </a:cubicBezTo>
                  <a:cubicBezTo>
                    <a:pt x="225" y="94"/>
                    <a:pt x="227" y="109"/>
                    <a:pt x="227" y="126"/>
                  </a:cubicBezTo>
                  <a:cubicBezTo>
                    <a:pt x="227" y="128"/>
                    <a:pt x="227" y="131"/>
                    <a:pt x="227" y="134"/>
                  </a:cubicBezTo>
                  <a:cubicBezTo>
                    <a:pt x="227" y="137"/>
                    <a:pt x="226" y="140"/>
                    <a:pt x="226" y="143"/>
                  </a:cubicBezTo>
                  <a:lnTo>
                    <a:pt x="65" y="143"/>
                  </a:lnTo>
                  <a:cubicBezTo>
                    <a:pt x="68" y="158"/>
                    <a:pt x="75" y="169"/>
                    <a:pt x="85" y="177"/>
                  </a:cubicBezTo>
                  <a:cubicBezTo>
                    <a:pt x="95" y="184"/>
                    <a:pt x="107" y="188"/>
                    <a:pt x="122" y="188"/>
                  </a:cubicBezTo>
                  <a:cubicBezTo>
                    <a:pt x="133" y="188"/>
                    <a:pt x="142" y="186"/>
                    <a:pt x="151" y="183"/>
                  </a:cubicBezTo>
                  <a:cubicBezTo>
                    <a:pt x="160" y="179"/>
                    <a:pt x="169" y="173"/>
                    <a:pt x="178" y="165"/>
                  </a:cubicBezTo>
                  <a:lnTo>
                    <a:pt x="215" y="198"/>
                  </a:lnTo>
                  <a:cubicBezTo>
                    <a:pt x="204" y="211"/>
                    <a:pt x="191" y="222"/>
                    <a:pt x="176" y="229"/>
                  </a:cubicBezTo>
                  <a:cubicBezTo>
                    <a:pt x="160" y="237"/>
                    <a:pt x="142" y="241"/>
                    <a:pt x="121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6" name="Freeform 48">
              <a:extLst>
                <a:ext uri="{FF2B5EF4-FFF2-40B4-BE49-F238E27FC236}">
                  <a16:creationId xmlns:a16="http://schemas.microsoft.com/office/drawing/2014/main" id="{CD7073B6-E5EC-9225-0B7F-05F1A7797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6" y="478"/>
              <a:ext cx="23" cy="30"/>
            </a:xfrm>
            <a:custGeom>
              <a:avLst/>
              <a:gdLst>
                <a:gd name="T0" fmla="*/ 100 w 188"/>
                <a:gd name="T1" fmla="*/ 239 h 239"/>
                <a:gd name="T2" fmla="*/ 49 w 188"/>
                <a:gd name="T3" fmla="*/ 231 h 239"/>
                <a:gd name="T4" fmla="*/ 0 w 188"/>
                <a:gd name="T5" fmla="*/ 204 h 239"/>
                <a:gd name="T6" fmla="*/ 28 w 188"/>
                <a:gd name="T7" fmla="*/ 161 h 239"/>
                <a:gd name="T8" fmla="*/ 66 w 188"/>
                <a:gd name="T9" fmla="*/ 182 h 239"/>
                <a:gd name="T10" fmla="*/ 101 w 188"/>
                <a:gd name="T11" fmla="*/ 189 h 239"/>
                <a:gd name="T12" fmla="*/ 122 w 188"/>
                <a:gd name="T13" fmla="*/ 184 h 239"/>
                <a:gd name="T14" fmla="*/ 129 w 188"/>
                <a:gd name="T15" fmla="*/ 171 h 239"/>
                <a:gd name="T16" fmla="*/ 129 w 188"/>
                <a:gd name="T17" fmla="*/ 170 h 239"/>
                <a:gd name="T18" fmla="*/ 125 w 188"/>
                <a:gd name="T19" fmla="*/ 161 h 239"/>
                <a:gd name="T20" fmla="*/ 114 w 188"/>
                <a:gd name="T21" fmla="*/ 155 h 239"/>
                <a:gd name="T22" fmla="*/ 99 w 188"/>
                <a:gd name="T23" fmla="*/ 149 h 239"/>
                <a:gd name="T24" fmla="*/ 81 w 188"/>
                <a:gd name="T25" fmla="*/ 144 h 239"/>
                <a:gd name="T26" fmla="*/ 57 w 188"/>
                <a:gd name="T27" fmla="*/ 135 h 239"/>
                <a:gd name="T28" fmla="*/ 35 w 188"/>
                <a:gd name="T29" fmla="*/ 122 h 239"/>
                <a:gd name="T30" fmla="*/ 18 w 188"/>
                <a:gd name="T31" fmla="*/ 103 h 239"/>
                <a:gd name="T32" fmla="*/ 12 w 188"/>
                <a:gd name="T33" fmla="*/ 74 h 239"/>
                <a:gd name="T34" fmla="*/ 12 w 188"/>
                <a:gd name="T35" fmla="*/ 73 h 239"/>
                <a:gd name="T36" fmla="*/ 19 w 188"/>
                <a:gd name="T37" fmla="*/ 42 h 239"/>
                <a:gd name="T38" fmla="*/ 37 w 188"/>
                <a:gd name="T39" fmla="*/ 19 h 239"/>
                <a:gd name="T40" fmla="*/ 64 w 188"/>
                <a:gd name="T41" fmla="*/ 5 h 239"/>
                <a:gd name="T42" fmla="*/ 97 w 188"/>
                <a:gd name="T43" fmla="*/ 0 h 239"/>
                <a:gd name="T44" fmla="*/ 141 w 188"/>
                <a:gd name="T45" fmla="*/ 7 h 239"/>
                <a:gd name="T46" fmla="*/ 183 w 188"/>
                <a:gd name="T47" fmla="*/ 27 h 239"/>
                <a:gd name="T48" fmla="*/ 158 w 188"/>
                <a:gd name="T49" fmla="*/ 72 h 239"/>
                <a:gd name="T50" fmla="*/ 124 w 188"/>
                <a:gd name="T51" fmla="*/ 56 h 239"/>
                <a:gd name="T52" fmla="*/ 95 w 188"/>
                <a:gd name="T53" fmla="*/ 51 h 239"/>
                <a:gd name="T54" fmla="*/ 77 w 188"/>
                <a:gd name="T55" fmla="*/ 55 h 239"/>
                <a:gd name="T56" fmla="*/ 71 w 188"/>
                <a:gd name="T57" fmla="*/ 67 h 239"/>
                <a:gd name="T58" fmla="*/ 71 w 188"/>
                <a:gd name="T59" fmla="*/ 67 h 239"/>
                <a:gd name="T60" fmla="*/ 75 w 188"/>
                <a:gd name="T61" fmla="*/ 76 h 239"/>
                <a:gd name="T62" fmla="*/ 85 w 188"/>
                <a:gd name="T63" fmla="*/ 83 h 239"/>
                <a:gd name="T64" fmla="*/ 100 w 188"/>
                <a:gd name="T65" fmla="*/ 89 h 239"/>
                <a:gd name="T66" fmla="*/ 118 w 188"/>
                <a:gd name="T67" fmla="*/ 95 h 239"/>
                <a:gd name="T68" fmla="*/ 143 w 188"/>
                <a:gd name="T69" fmla="*/ 104 h 239"/>
                <a:gd name="T70" fmla="*/ 165 w 188"/>
                <a:gd name="T71" fmla="*/ 117 h 239"/>
                <a:gd name="T72" fmla="*/ 181 w 188"/>
                <a:gd name="T73" fmla="*/ 136 h 239"/>
                <a:gd name="T74" fmla="*/ 188 w 188"/>
                <a:gd name="T75" fmla="*/ 164 h 239"/>
                <a:gd name="T76" fmla="*/ 188 w 188"/>
                <a:gd name="T77" fmla="*/ 164 h 239"/>
                <a:gd name="T78" fmla="*/ 181 w 188"/>
                <a:gd name="T79" fmla="*/ 198 h 239"/>
                <a:gd name="T80" fmla="*/ 162 w 188"/>
                <a:gd name="T81" fmla="*/ 221 h 239"/>
                <a:gd name="T82" fmla="*/ 134 w 188"/>
                <a:gd name="T83" fmla="*/ 234 h 239"/>
                <a:gd name="T84" fmla="*/ 100 w 188"/>
                <a:gd name="T85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8" h="239">
                  <a:moveTo>
                    <a:pt x="100" y="239"/>
                  </a:moveTo>
                  <a:cubicBezTo>
                    <a:pt x="83" y="239"/>
                    <a:pt x="66" y="236"/>
                    <a:pt x="49" y="231"/>
                  </a:cubicBezTo>
                  <a:cubicBezTo>
                    <a:pt x="32" y="225"/>
                    <a:pt x="16" y="216"/>
                    <a:pt x="0" y="204"/>
                  </a:cubicBezTo>
                  <a:lnTo>
                    <a:pt x="28" y="161"/>
                  </a:lnTo>
                  <a:cubicBezTo>
                    <a:pt x="41" y="170"/>
                    <a:pt x="54" y="177"/>
                    <a:pt x="66" y="182"/>
                  </a:cubicBezTo>
                  <a:cubicBezTo>
                    <a:pt x="79" y="186"/>
                    <a:pt x="90" y="189"/>
                    <a:pt x="101" y="189"/>
                  </a:cubicBezTo>
                  <a:cubicBezTo>
                    <a:pt x="111" y="189"/>
                    <a:pt x="118" y="187"/>
                    <a:pt x="122" y="184"/>
                  </a:cubicBezTo>
                  <a:cubicBezTo>
                    <a:pt x="127" y="181"/>
                    <a:pt x="129" y="176"/>
                    <a:pt x="129" y="171"/>
                  </a:cubicBezTo>
                  <a:lnTo>
                    <a:pt x="129" y="170"/>
                  </a:lnTo>
                  <a:cubicBezTo>
                    <a:pt x="129" y="167"/>
                    <a:pt x="128" y="164"/>
                    <a:pt x="125" y="161"/>
                  </a:cubicBezTo>
                  <a:cubicBezTo>
                    <a:pt x="122" y="159"/>
                    <a:pt x="119" y="157"/>
                    <a:pt x="114" y="155"/>
                  </a:cubicBezTo>
                  <a:cubicBezTo>
                    <a:pt x="110" y="153"/>
                    <a:pt x="105" y="151"/>
                    <a:pt x="99" y="149"/>
                  </a:cubicBezTo>
                  <a:cubicBezTo>
                    <a:pt x="93" y="148"/>
                    <a:pt x="87" y="146"/>
                    <a:pt x="81" y="144"/>
                  </a:cubicBezTo>
                  <a:cubicBezTo>
                    <a:pt x="73" y="141"/>
                    <a:pt x="65" y="139"/>
                    <a:pt x="57" y="135"/>
                  </a:cubicBezTo>
                  <a:cubicBezTo>
                    <a:pt x="48" y="132"/>
                    <a:pt x="41" y="128"/>
                    <a:pt x="35" y="122"/>
                  </a:cubicBezTo>
                  <a:cubicBezTo>
                    <a:pt x="28" y="117"/>
                    <a:pt x="22" y="111"/>
                    <a:pt x="18" y="103"/>
                  </a:cubicBezTo>
                  <a:cubicBezTo>
                    <a:pt x="14" y="95"/>
                    <a:pt x="12" y="86"/>
                    <a:pt x="12" y="74"/>
                  </a:cubicBezTo>
                  <a:lnTo>
                    <a:pt x="12" y="73"/>
                  </a:lnTo>
                  <a:cubicBezTo>
                    <a:pt x="12" y="62"/>
                    <a:pt x="14" y="51"/>
                    <a:pt x="19" y="42"/>
                  </a:cubicBezTo>
                  <a:cubicBezTo>
                    <a:pt x="23" y="33"/>
                    <a:pt x="29" y="26"/>
                    <a:pt x="37" y="19"/>
                  </a:cubicBezTo>
                  <a:cubicBezTo>
                    <a:pt x="44" y="13"/>
                    <a:pt x="53" y="8"/>
                    <a:pt x="64" y="5"/>
                  </a:cubicBezTo>
                  <a:cubicBezTo>
                    <a:pt x="74" y="2"/>
                    <a:pt x="85" y="0"/>
                    <a:pt x="97" y="0"/>
                  </a:cubicBezTo>
                  <a:cubicBezTo>
                    <a:pt x="111" y="0"/>
                    <a:pt x="126" y="3"/>
                    <a:pt x="141" y="7"/>
                  </a:cubicBezTo>
                  <a:cubicBezTo>
                    <a:pt x="156" y="12"/>
                    <a:pt x="170" y="19"/>
                    <a:pt x="183" y="27"/>
                  </a:cubicBezTo>
                  <a:lnTo>
                    <a:pt x="158" y="72"/>
                  </a:lnTo>
                  <a:cubicBezTo>
                    <a:pt x="146" y="66"/>
                    <a:pt x="135" y="60"/>
                    <a:pt x="124" y="56"/>
                  </a:cubicBezTo>
                  <a:cubicBezTo>
                    <a:pt x="113" y="53"/>
                    <a:pt x="104" y="51"/>
                    <a:pt x="95" y="51"/>
                  </a:cubicBezTo>
                  <a:cubicBezTo>
                    <a:pt x="87" y="51"/>
                    <a:pt x="81" y="52"/>
                    <a:pt x="77" y="55"/>
                  </a:cubicBezTo>
                  <a:cubicBezTo>
                    <a:pt x="73" y="58"/>
                    <a:pt x="71" y="62"/>
                    <a:pt x="71" y="67"/>
                  </a:cubicBezTo>
                  <a:lnTo>
                    <a:pt x="71" y="67"/>
                  </a:lnTo>
                  <a:cubicBezTo>
                    <a:pt x="71" y="71"/>
                    <a:pt x="72" y="73"/>
                    <a:pt x="75" y="76"/>
                  </a:cubicBezTo>
                  <a:cubicBezTo>
                    <a:pt x="78" y="78"/>
                    <a:pt x="81" y="81"/>
                    <a:pt x="85" y="83"/>
                  </a:cubicBezTo>
                  <a:cubicBezTo>
                    <a:pt x="90" y="85"/>
                    <a:pt x="95" y="87"/>
                    <a:pt x="100" y="89"/>
                  </a:cubicBezTo>
                  <a:cubicBezTo>
                    <a:pt x="106" y="91"/>
                    <a:pt x="112" y="93"/>
                    <a:pt x="118" y="95"/>
                  </a:cubicBezTo>
                  <a:cubicBezTo>
                    <a:pt x="126" y="98"/>
                    <a:pt x="134" y="101"/>
                    <a:pt x="143" y="104"/>
                  </a:cubicBezTo>
                  <a:cubicBezTo>
                    <a:pt x="151" y="108"/>
                    <a:pt x="158" y="112"/>
                    <a:pt x="165" y="117"/>
                  </a:cubicBezTo>
                  <a:cubicBezTo>
                    <a:pt x="172" y="123"/>
                    <a:pt x="177" y="129"/>
                    <a:pt x="181" y="136"/>
                  </a:cubicBezTo>
                  <a:cubicBezTo>
                    <a:pt x="186" y="144"/>
                    <a:pt x="188" y="153"/>
                    <a:pt x="188" y="164"/>
                  </a:cubicBezTo>
                  <a:lnTo>
                    <a:pt x="188" y="164"/>
                  </a:lnTo>
                  <a:cubicBezTo>
                    <a:pt x="188" y="177"/>
                    <a:pt x="186" y="188"/>
                    <a:pt x="181" y="198"/>
                  </a:cubicBezTo>
                  <a:cubicBezTo>
                    <a:pt x="177" y="207"/>
                    <a:pt x="170" y="215"/>
                    <a:pt x="162" y="221"/>
                  </a:cubicBezTo>
                  <a:cubicBezTo>
                    <a:pt x="154" y="227"/>
                    <a:pt x="145" y="231"/>
                    <a:pt x="134" y="234"/>
                  </a:cubicBezTo>
                  <a:cubicBezTo>
                    <a:pt x="123" y="237"/>
                    <a:pt x="112" y="239"/>
                    <a:pt x="100" y="239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7" name="Freeform 49">
              <a:extLst>
                <a:ext uri="{FF2B5EF4-FFF2-40B4-BE49-F238E27FC236}">
                  <a16:creationId xmlns:a16="http://schemas.microsoft.com/office/drawing/2014/main" id="{D99CFB5E-958E-4017-A5D2-CDAB6D53C7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5" y="468"/>
              <a:ext cx="9" cy="40"/>
            </a:xfrm>
            <a:custGeom>
              <a:avLst/>
              <a:gdLst>
                <a:gd name="T0" fmla="*/ 2 w 69"/>
                <a:gd name="T1" fmla="*/ 84 h 315"/>
                <a:gd name="T2" fmla="*/ 67 w 69"/>
                <a:gd name="T3" fmla="*/ 84 h 315"/>
                <a:gd name="T4" fmla="*/ 67 w 69"/>
                <a:gd name="T5" fmla="*/ 315 h 315"/>
                <a:gd name="T6" fmla="*/ 2 w 69"/>
                <a:gd name="T7" fmla="*/ 315 h 315"/>
                <a:gd name="T8" fmla="*/ 2 w 69"/>
                <a:gd name="T9" fmla="*/ 84 h 315"/>
                <a:gd name="T10" fmla="*/ 0 w 69"/>
                <a:gd name="T11" fmla="*/ 0 h 315"/>
                <a:gd name="T12" fmla="*/ 69 w 69"/>
                <a:gd name="T13" fmla="*/ 0 h 315"/>
                <a:gd name="T14" fmla="*/ 69 w 69"/>
                <a:gd name="T15" fmla="*/ 58 h 315"/>
                <a:gd name="T16" fmla="*/ 0 w 69"/>
                <a:gd name="T17" fmla="*/ 58 h 315"/>
                <a:gd name="T18" fmla="*/ 0 w 69"/>
                <a:gd name="T1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315">
                  <a:moveTo>
                    <a:pt x="2" y="84"/>
                  </a:moveTo>
                  <a:lnTo>
                    <a:pt x="67" y="84"/>
                  </a:lnTo>
                  <a:lnTo>
                    <a:pt x="67" y="315"/>
                  </a:lnTo>
                  <a:lnTo>
                    <a:pt x="2" y="315"/>
                  </a:lnTo>
                  <a:lnTo>
                    <a:pt x="2" y="84"/>
                  </a:lnTo>
                  <a:close/>
                  <a:moveTo>
                    <a:pt x="0" y="0"/>
                  </a:moveTo>
                  <a:lnTo>
                    <a:pt x="69" y="0"/>
                  </a:lnTo>
                  <a:lnTo>
                    <a:pt x="69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8" name="Rectangle 50">
              <a:extLst>
                <a:ext uri="{FF2B5EF4-FFF2-40B4-BE49-F238E27FC236}">
                  <a16:creationId xmlns:a16="http://schemas.microsoft.com/office/drawing/2014/main" id="{9DCAB835-2277-D63A-0BD1-1D968A51C8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1" y="468"/>
              <a:ext cx="8" cy="40"/>
            </a:xfrm>
            <a:prstGeom prst="rect">
              <a:avLst/>
            </a:pr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9" name="Freeform 51">
              <a:extLst>
                <a:ext uri="{FF2B5EF4-FFF2-40B4-BE49-F238E27FC236}">
                  <a16:creationId xmlns:a16="http://schemas.microsoft.com/office/drawing/2014/main" id="{D1573637-BA37-75FB-0F2B-1814034F77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7" y="468"/>
              <a:ext cx="9" cy="40"/>
            </a:xfrm>
            <a:custGeom>
              <a:avLst/>
              <a:gdLst>
                <a:gd name="T0" fmla="*/ 2 w 69"/>
                <a:gd name="T1" fmla="*/ 84 h 315"/>
                <a:gd name="T2" fmla="*/ 68 w 69"/>
                <a:gd name="T3" fmla="*/ 84 h 315"/>
                <a:gd name="T4" fmla="*/ 68 w 69"/>
                <a:gd name="T5" fmla="*/ 315 h 315"/>
                <a:gd name="T6" fmla="*/ 2 w 69"/>
                <a:gd name="T7" fmla="*/ 315 h 315"/>
                <a:gd name="T8" fmla="*/ 2 w 69"/>
                <a:gd name="T9" fmla="*/ 84 h 315"/>
                <a:gd name="T10" fmla="*/ 0 w 69"/>
                <a:gd name="T11" fmla="*/ 0 h 315"/>
                <a:gd name="T12" fmla="*/ 69 w 69"/>
                <a:gd name="T13" fmla="*/ 0 h 315"/>
                <a:gd name="T14" fmla="*/ 69 w 69"/>
                <a:gd name="T15" fmla="*/ 58 h 315"/>
                <a:gd name="T16" fmla="*/ 0 w 69"/>
                <a:gd name="T17" fmla="*/ 58 h 315"/>
                <a:gd name="T18" fmla="*/ 0 w 69"/>
                <a:gd name="T1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315">
                  <a:moveTo>
                    <a:pt x="2" y="84"/>
                  </a:moveTo>
                  <a:lnTo>
                    <a:pt x="68" y="84"/>
                  </a:lnTo>
                  <a:lnTo>
                    <a:pt x="68" y="315"/>
                  </a:lnTo>
                  <a:lnTo>
                    <a:pt x="2" y="315"/>
                  </a:lnTo>
                  <a:lnTo>
                    <a:pt x="2" y="84"/>
                  </a:lnTo>
                  <a:close/>
                  <a:moveTo>
                    <a:pt x="0" y="0"/>
                  </a:moveTo>
                  <a:lnTo>
                    <a:pt x="69" y="0"/>
                  </a:lnTo>
                  <a:lnTo>
                    <a:pt x="69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0" name="Freeform 52">
              <a:extLst>
                <a:ext uri="{FF2B5EF4-FFF2-40B4-BE49-F238E27FC236}">
                  <a16:creationId xmlns:a16="http://schemas.microsoft.com/office/drawing/2014/main" id="{2B469F3C-BC92-F458-0E2B-E3B0C2ACCC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2" y="478"/>
              <a:ext cx="28" cy="30"/>
            </a:xfrm>
            <a:custGeom>
              <a:avLst/>
              <a:gdLst>
                <a:gd name="T0" fmla="*/ 163 w 227"/>
                <a:gd name="T1" fmla="*/ 102 h 241"/>
                <a:gd name="T2" fmla="*/ 147 w 227"/>
                <a:gd name="T3" fmla="*/ 67 h 241"/>
                <a:gd name="T4" fmla="*/ 114 w 227"/>
                <a:gd name="T5" fmla="*/ 53 h 241"/>
                <a:gd name="T6" fmla="*/ 81 w 227"/>
                <a:gd name="T7" fmla="*/ 66 h 241"/>
                <a:gd name="T8" fmla="*/ 64 w 227"/>
                <a:gd name="T9" fmla="*/ 102 h 241"/>
                <a:gd name="T10" fmla="*/ 163 w 227"/>
                <a:gd name="T11" fmla="*/ 102 h 241"/>
                <a:gd name="T12" fmla="*/ 121 w 227"/>
                <a:gd name="T13" fmla="*/ 241 h 241"/>
                <a:gd name="T14" fmla="*/ 73 w 227"/>
                <a:gd name="T15" fmla="*/ 232 h 241"/>
                <a:gd name="T16" fmla="*/ 34 w 227"/>
                <a:gd name="T17" fmla="*/ 208 h 241"/>
                <a:gd name="T18" fmla="*/ 9 w 227"/>
                <a:gd name="T19" fmla="*/ 170 h 241"/>
                <a:gd name="T20" fmla="*/ 0 w 227"/>
                <a:gd name="T21" fmla="*/ 121 h 241"/>
                <a:gd name="T22" fmla="*/ 0 w 227"/>
                <a:gd name="T23" fmla="*/ 121 h 241"/>
                <a:gd name="T24" fmla="*/ 8 w 227"/>
                <a:gd name="T25" fmla="*/ 74 h 241"/>
                <a:gd name="T26" fmla="*/ 32 w 227"/>
                <a:gd name="T27" fmla="*/ 36 h 241"/>
                <a:gd name="T28" fmla="*/ 68 w 227"/>
                <a:gd name="T29" fmla="*/ 10 h 241"/>
                <a:gd name="T30" fmla="*/ 114 w 227"/>
                <a:gd name="T31" fmla="*/ 0 h 241"/>
                <a:gd name="T32" fmla="*/ 164 w 227"/>
                <a:gd name="T33" fmla="*/ 11 h 241"/>
                <a:gd name="T34" fmla="*/ 199 w 227"/>
                <a:gd name="T35" fmla="*/ 39 h 241"/>
                <a:gd name="T36" fmla="*/ 220 w 227"/>
                <a:gd name="T37" fmla="*/ 79 h 241"/>
                <a:gd name="T38" fmla="*/ 227 w 227"/>
                <a:gd name="T39" fmla="*/ 126 h 241"/>
                <a:gd name="T40" fmla="*/ 226 w 227"/>
                <a:gd name="T41" fmla="*/ 134 h 241"/>
                <a:gd name="T42" fmla="*/ 226 w 227"/>
                <a:gd name="T43" fmla="*/ 143 h 241"/>
                <a:gd name="T44" fmla="*/ 65 w 227"/>
                <a:gd name="T45" fmla="*/ 143 h 241"/>
                <a:gd name="T46" fmla="*/ 85 w 227"/>
                <a:gd name="T47" fmla="*/ 177 h 241"/>
                <a:gd name="T48" fmla="*/ 121 w 227"/>
                <a:gd name="T49" fmla="*/ 188 h 241"/>
                <a:gd name="T50" fmla="*/ 151 w 227"/>
                <a:gd name="T51" fmla="*/ 183 h 241"/>
                <a:gd name="T52" fmla="*/ 177 w 227"/>
                <a:gd name="T53" fmla="*/ 165 h 241"/>
                <a:gd name="T54" fmla="*/ 215 w 227"/>
                <a:gd name="T55" fmla="*/ 198 h 241"/>
                <a:gd name="T56" fmla="*/ 175 w 227"/>
                <a:gd name="T57" fmla="*/ 229 h 241"/>
                <a:gd name="T58" fmla="*/ 121 w 227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7" h="241">
                  <a:moveTo>
                    <a:pt x="163" y="102"/>
                  </a:moveTo>
                  <a:cubicBezTo>
                    <a:pt x="161" y="87"/>
                    <a:pt x="156" y="76"/>
                    <a:pt x="147" y="67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0" y="53"/>
                    <a:pt x="89" y="57"/>
                    <a:pt x="81" y="66"/>
                  </a:cubicBezTo>
                  <a:cubicBezTo>
                    <a:pt x="72" y="75"/>
                    <a:pt x="67" y="87"/>
                    <a:pt x="64" y="102"/>
                  </a:cubicBezTo>
                  <a:lnTo>
                    <a:pt x="163" y="102"/>
                  </a:lnTo>
                  <a:close/>
                  <a:moveTo>
                    <a:pt x="121" y="241"/>
                  </a:moveTo>
                  <a:cubicBezTo>
                    <a:pt x="103" y="241"/>
                    <a:pt x="87" y="238"/>
                    <a:pt x="73" y="232"/>
                  </a:cubicBezTo>
                  <a:cubicBezTo>
                    <a:pt x="58" y="226"/>
                    <a:pt x="45" y="218"/>
                    <a:pt x="34" y="208"/>
                  </a:cubicBezTo>
                  <a:cubicBezTo>
                    <a:pt x="23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8" y="74"/>
                  </a:cubicBezTo>
                  <a:cubicBezTo>
                    <a:pt x="14" y="59"/>
                    <a:pt x="22" y="47"/>
                    <a:pt x="32" y="36"/>
                  </a:cubicBezTo>
                  <a:cubicBezTo>
                    <a:pt x="42" y="25"/>
                    <a:pt x="54" y="16"/>
                    <a:pt x="68" y="10"/>
                  </a:cubicBezTo>
                  <a:cubicBezTo>
                    <a:pt x="82" y="4"/>
                    <a:pt x="97" y="0"/>
                    <a:pt x="114" y="0"/>
                  </a:cubicBezTo>
                  <a:cubicBezTo>
                    <a:pt x="133" y="0"/>
                    <a:pt x="150" y="4"/>
                    <a:pt x="164" y="11"/>
                  </a:cubicBezTo>
                  <a:cubicBezTo>
                    <a:pt x="178" y="18"/>
                    <a:pt x="190" y="27"/>
                    <a:pt x="199" y="39"/>
                  </a:cubicBezTo>
                  <a:cubicBezTo>
                    <a:pt x="209" y="50"/>
                    <a:pt x="215" y="64"/>
                    <a:pt x="220" y="79"/>
                  </a:cubicBezTo>
                  <a:cubicBezTo>
                    <a:pt x="224" y="94"/>
                    <a:pt x="227" y="109"/>
                    <a:pt x="227" y="126"/>
                  </a:cubicBezTo>
                  <a:cubicBezTo>
                    <a:pt x="227" y="128"/>
                    <a:pt x="226" y="131"/>
                    <a:pt x="226" y="134"/>
                  </a:cubicBezTo>
                  <a:cubicBezTo>
                    <a:pt x="226" y="137"/>
                    <a:pt x="226" y="140"/>
                    <a:pt x="226" y="143"/>
                  </a:cubicBezTo>
                  <a:lnTo>
                    <a:pt x="65" y="143"/>
                  </a:lnTo>
                  <a:cubicBezTo>
                    <a:pt x="68" y="158"/>
                    <a:pt x="75" y="169"/>
                    <a:pt x="85" y="177"/>
                  </a:cubicBezTo>
                  <a:cubicBezTo>
                    <a:pt x="94" y="184"/>
                    <a:pt x="107" y="188"/>
                    <a:pt x="121" y="188"/>
                  </a:cubicBezTo>
                  <a:cubicBezTo>
                    <a:pt x="132" y="188"/>
                    <a:pt x="142" y="186"/>
                    <a:pt x="151" y="183"/>
                  </a:cubicBezTo>
                  <a:cubicBezTo>
                    <a:pt x="159" y="179"/>
                    <a:pt x="168" y="173"/>
                    <a:pt x="177" y="165"/>
                  </a:cubicBezTo>
                  <a:lnTo>
                    <a:pt x="215" y="198"/>
                  </a:lnTo>
                  <a:cubicBezTo>
                    <a:pt x="204" y="211"/>
                    <a:pt x="191" y="222"/>
                    <a:pt x="175" y="229"/>
                  </a:cubicBezTo>
                  <a:cubicBezTo>
                    <a:pt x="160" y="237"/>
                    <a:pt x="142" y="241"/>
                    <a:pt x="121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1" name="Freeform 53">
              <a:extLst>
                <a:ext uri="{FF2B5EF4-FFF2-40B4-BE49-F238E27FC236}">
                  <a16:creationId xmlns:a16="http://schemas.microsoft.com/office/drawing/2014/main" id="{1D3C5AD0-2267-13C4-74A7-DBE37B316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" y="478"/>
              <a:ext cx="26" cy="30"/>
            </a:xfrm>
            <a:custGeom>
              <a:avLst/>
              <a:gdLst>
                <a:gd name="T0" fmla="*/ 0 w 212"/>
                <a:gd name="T1" fmla="*/ 5 h 236"/>
                <a:gd name="T2" fmla="*/ 66 w 212"/>
                <a:gd name="T3" fmla="*/ 5 h 236"/>
                <a:gd name="T4" fmla="*/ 66 w 212"/>
                <a:gd name="T5" fmla="*/ 38 h 236"/>
                <a:gd name="T6" fmla="*/ 78 w 212"/>
                <a:gd name="T7" fmla="*/ 24 h 236"/>
                <a:gd name="T8" fmla="*/ 93 w 212"/>
                <a:gd name="T9" fmla="*/ 12 h 236"/>
                <a:gd name="T10" fmla="*/ 111 w 212"/>
                <a:gd name="T11" fmla="*/ 3 h 236"/>
                <a:gd name="T12" fmla="*/ 133 w 212"/>
                <a:gd name="T13" fmla="*/ 0 h 236"/>
                <a:gd name="T14" fmla="*/ 191 w 212"/>
                <a:gd name="T15" fmla="*/ 23 h 236"/>
                <a:gd name="T16" fmla="*/ 212 w 212"/>
                <a:gd name="T17" fmla="*/ 86 h 236"/>
                <a:gd name="T18" fmla="*/ 212 w 212"/>
                <a:gd name="T19" fmla="*/ 236 h 236"/>
                <a:gd name="T20" fmla="*/ 146 w 212"/>
                <a:gd name="T21" fmla="*/ 236 h 236"/>
                <a:gd name="T22" fmla="*/ 146 w 212"/>
                <a:gd name="T23" fmla="*/ 107 h 236"/>
                <a:gd name="T24" fmla="*/ 136 w 212"/>
                <a:gd name="T25" fmla="*/ 72 h 236"/>
                <a:gd name="T26" fmla="*/ 107 w 212"/>
                <a:gd name="T27" fmla="*/ 60 h 236"/>
                <a:gd name="T28" fmla="*/ 77 w 212"/>
                <a:gd name="T29" fmla="*/ 72 h 236"/>
                <a:gd name="T30" fmla="*/ 66 w 212"/>
                <a:gd name="T31" fmla="*/ 107 h 236"/>
                <a:gd name="T32" fmla="*/ 66 w 212"/>
                <a:gd name="T33" fmla="*/ 236 h 236"/>
                <a:gd name="T34" fmla="*/ 0 w 212"/>
                <a:gd name="T35" fmla="*/ 236 h 236"/>
                <a:gd name="T36" fmla="*/ 0 w 212"/>
                <a:gd name="T37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2" h="236">
                  <a:moveTo>
                    <a:pt x="0" y="5"/>
                  </a:moveTo>
                  <a:lnTo>
                    <a:pt x="66" y="5"/>
                  </a:lnTo>
                  <a:lnTo>
                    <a:pt x="66" y="38"/>
                  </a:lnTo>
                  <a:cubicBezTo>
                    <a:pt x="69" y="33"/>
                    <a:pt x="74" y="28"/>
                    <a:pt x="78" y="24"/>
                  </a:cubicBezTo>
                  <a:cubicBezTo>
                    <a:pt x="82" y="19"/>
                    <a:pt x="87" y="15"/>
                    <a:pt x="93" y="12"/>
                  </a:cubicBezTo>
                  <a:cubicBezTo>
                    <a:pt x="98" y="8"/>
                    <a:pt x="104" y="5"/>
                    <a:pt x="111" y="3"/>
                  </a:cubicBezTo>
                  <a:cubicBezTo>
                    <a:pt x="118" y="1"/>
                    <a:pt x="125" y="0"/>
                    <a:pt x="133" y="0"/>
                  </a:cubicBezTo>
                  <a:cubicBezTo>
                    <a:pt x="158" y="0"/>
                    <a:pt x="178" y="8"/>
                    <a:pt x="191" y="23"/>
                  </a:cubicBezTo>
                  <a:cubicBezTo>
                    <a:pt x="205" y="38"/>
                    <a:pt x="212" y="59"/>
                    <a:pt x="212" y="86"/>
                  </a:cubicBezTo>
                  <a:lnTo>
                    <a:pt x="212" y="236"/>
                  </a:lnTo>
                  <a:lnTo>
                    <a:pt x="146" y="236"/>
                  </a:lnTo>
                  <a:lnTo>
                    <a:pt x="146" y="107"/>
                  </a:lnTo>
                  <a:cubicBezTo>
                    <a:pt x="146" y="92"/>
                    <a:pt x="143" y="80"/>
                    <a:pt x="136" y="72"/>
                  </a:cubicBezTo>
                  <a:cubicBezTo>
                    <a:pt x="129" y="64"/>
                    <a:pt x="119" y="60"/>
                    <a:pt x="107" y="60"/>
                  </a:cubicBezTo>
                  <a:cubicBezTo>
                    <a:pt x="94" y="60"/>
                    <a:pt x="84" y="64"/>
                    <a:pt x="77" y="72"/>
                  </a:cubicBezTo>
                  <a:cubicBezTo>
                    <a:pt x="69" y="80"/>
                    <a:pt x="66" y="92"/>
                    <a:pt x="66" y="107"/>
                  </a:cubicBezTo>
                  <a:lnTo>
                    <a:pt x="66" y="236"/>
                  </a:lnTo>
                  <a:lnTo>
                    <a:pt x="0" y="236"/>
                  </a:lnTo>
                  <a:lnTo>
                    <a:pt x="0" y="5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2" name="Freeform 54">
              <a:extLst>
                <a:ext uri="{FF2B5EF4-FFF2-40B4-BE49-F238E27FC236}">
                  <a16:creationId xmlns:a16="http://schemas.microsoft.com/office/drawing/2014/main" id="{0F21609E-0D55-5A96-8499-F8476A930E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8" y="478"/>
              <a:ext cx="26" cy="30"/>
            </a:xfrm>
            <a:custGeom>
              <a:avLst/>
              <a:gdLst>
                <a:gd name="T0" fmla="*/ 121 w 215"/>
                <a:gd name="T1" fmla="*/ 241 h 241"/>
                <a:gd name="T2" fmla="*/ 73 w 215"/>
                <a:gd name="T3" fmla="*/ 231 h 241"/>
                <a:gd name="T4" fmla="*/ 34 w 215"/>
                <a:gd name="T5" fmla="*/ 206 h 241"/>
                <a:gd name="T6" fmla="*/ 9 w 215"/>
                <a:gd name="T7" fmla="*/ 168 h 241"/>
                <a:gd name="T8" fmla="*/ 0 w 215"/>
                <a:gd name="T9" fmla="*/ 121 h 241"/>
                <a:gd name="T10" fmla="*/ 0 w 215"/>
                <a:gd name="T11" fmla="*/ 121 h 241"/>
                <a:gd name="T12" fmla="*/ 9 w 215"/>
                <a:gd name="T13" fmla="*/ 74 h 241"/>
                <a:gd name="T14" fmla="*/ 34 w 215"/>
                <a:gd name="T15" fmla="*/ 36 h 241"/>
                <a:gd name="T16" fmla="*/ 73 w 215"/>
                <a:gd name="T17" fmla="*/ 10 h 241"/>
                <a:gd name="T18" fmla="*/ 121 w 215"/>
                <a:gd name="T19" fmla="*/ 0 h 241"/>
                <a:gd name="T20" fmla="*/ 176 w 215"/>
                <a:gd name="T21" fmla="*/ 11 h 241"/>
                <a:gd name="T22" fmla="*/ 214 w 215"/>
                <a:gd name="T23" fmla="*/ 39 h 241"/>
                <a:gd name="T24" fmla="*/ 174 w 215"/>
                <a:gd name="T25" fmla="*/ 82 h 241"/>
                <a:gd name="T26" fmla="*/ 151 w 215"/>
                <a:gd name="T27" fmla="*/ 64 h 241"/>
                <a:gd name="T28" fmla="*/ 121 w 215"/>
                <a:gd name="T29" fmla="*/ 57 h 241"/>
                <a:gd name="T30" fmla="*/ 98 w 215"/>
                <a:gd name="T31" fmla="*/ 62 h 241"/>
                <a:gd name="T32" fmla="*/ 81 w 215"/>
                <a:gd name="T33" fmla="*/ 75 h 241"/>
                <a:gd name="T34" fmla="*/ 69 w 215"/>
                <a:gd name="T35" fmla="*/ 95 h 241"/>
                <a:gd name="T36" fmla="*/ 65 w 215"/>
                <a:gd name="T37" fmla="*/ 120 h 241"/>
                <a:gd name="T38" fmla="*/ 65 w 215"/>
                <a:gd name="T39" fmla="*/ 121 h 241"/>
                <a:gd name="T40" fmla="*/ 69 w 215"/>
                <a:gd name="T41" fmla="*/ 146 h 241"/>
                <a:gd name="T42" fmla="*/ 81 w 215"/>
                <a:gd name="T43" fmla="*/ 166 h 241"/>
                <a:gd name="T44" fmla="*/ 99 w 215"/>
                <a:gd name="T45" fmla="*/ 179 h 241"/>
                <a:gd name="T46" fmla="*/ 124 w 215"/>
                <a:gd name="T47" fmla="*/ 184 h 241"/>
                <a:gd name="T48" fmla="*/ 152 w 215"/>
                <a:gd name="T49" fmla="*/ 178 h 241"/>
                <a:gd name="T50" fmla="*/ 177 w 215"/>
                <a:gd name="T51" fmla="*/ 160 h 241"/>
                <a:gd name="T52" fmla="*/ 215 w 215"/>
                <a:gd name="T53" fmla="*/ 199 h 241"/>
                <a:gd name="T54" fmla="*/ 177 w 215"/>
                <a:gd name="T55" fmla="*/ 229 h 241"/>
                <a:gd name="T56" fmla="*/ 121 w 215"/>
                <a:gd name="T5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5" h="241">
                  <a:moveTo>
                    <a:pt x="121" y="241"/>
                  </a:moveTo>
                  <a:cubicBezTo>
                    <a:pt x="103" y="241"/>
                    <a:pt x="87" y="238"/>
                    <a:pt x="73" y="231"/>
                  </a:cubicBezTo>
                  <a:cubicBezTo>
                    <a:pt x="58" y="225"/>
                    <a:pt x="45" y="216"/>
                    <a:pt x="34" y="206"/>
                  </a:cubicBezTo>
                  <a:cubicBezTo>
                    <a:pt x="24" y="195"/>
                    <a:pt x="15" y="182"/>
                    <a:pt x="9" y="168"/>
                  </a:cubicBezTo>
                  <a:cubicBezTo>
                    <a:pt x="3" y="153"/>
                    <a:pt x="0" y="138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9" y="74"/>
                  </a:cubicBezTo>
                  <a:cubicBezTo>
                    <a:pt x="15" y="59"/>
                    <a:pt x="24" y="47"/>
                    <a:pt x="34" y="36"/>
                  </a:cubicBezTo>
                  <a:cubicBezTo>
                    <a:pt x="45" y="25"/>
                    <a:pt x="58" y="16"/>
                    <a:pt x="73" y="10"/>
                  </a:cubicBezTo>
                  <a:cubicBezTo>
                    <a:pt x="87" y="4"/>
                    <a:pt x="104" y="0"/>
                    <a:pt x="121" y="0"/>
                  </a:cubicBezTo>
                  <a:cubicBezTo>
                    <a:pt x="143" y="0"/>
                    <a:pt x="161" y="4"/>
                    <a:pt x="176" y="11"/>
                  </a:cubicBezTo>
                  <a:cubicBezTo>
                    <a:pt x="190" y="18"/>
                    <a:pt x="203" y="27"/>
                    <a:pt x="214" y="39"/>
                  </a:cubicBezTo>
                  <a:lnTo>
                    <a:pt x="174" y="82"/>
                  </a:lnTo>
                  <a:cubicBezTo>
                    <a:pt x="166" y="74"/>
                    <a:pt x="158" y="68"/>
                    <a:pt x="151" y="64"/>
                  </a:cubicBezTo>
                  <a:cubicBezTo>
                    <a:pt x="143" y="59"/>
                    <a:pt x="133" y="57"/>
                    <a:pt x="121" y="57"/>
                  </a:cubicBezTo>
                  <a:cubicBezTo>
                    <a:pt x="113" y="57"/>
                    <a:pt x="105" y="58"/>
                    <a:pt x="98" y="62"/>
                  </a:cubicBezTo>
                  <a:cubicBezTo>
                    <a:pt x="92" y="65"/>
                    <a:pt x="86" y="70"/>
                    <a:pt x="81" y="75"/>
                  </a:cubicBezTo>
                  <a:cubicBezTo>
                    <a:pt x="76" y="81"/>
                    <a:pt x="72" y="88"/>
                    <a:pt x="69" y="95"/>
                  </a:cubicBezTo>
                  <a:cubicBezTo>
                    <a:pt x="66" y="103"/>
                    <a:pt x="65" y="111"/>
                    <a:pt x="65" y="120"/>
                  </a:cubicBezTo>
                  <a:lnTo>
                    <a:pt x="65" y="121"/>
                  </a:lnTo>
                  <a:cubicBezTo>
                    <a:pt x="65" y="129"/>
                    <a:pt x="66" y="138"/>
                    <a:pt x="69" y="146"/>
                  </a:cubicBezTo>
                  <a:cubicBezTo>
                    <a:pt x="72" y="153"/>
                    <a:pt x="76" y="160"/>
                    <a:pt x="81" y="166"/>
                  </a:cubicBezTo>
                  <a:cubicBezTo>
                    <a:pt x="86" y="172"/>
                    <a:pt x="92" y="176"/>
                    <a:pt x="99" y="179"/>
                  </a:cubicBezTo>
                  <a:cubicBezTo>
                    <a:pt x="107" y="183"/>
                    <a:pt x="115" y="184"/>
                    <a:pt x="124" y="184"/>
                  </a:cubicBezTo>
                  <a:cubicBezTo>
                    <a:pt x="135" y="184"/>
                    <a:pt x="144" y="182"/>
                    <a:pt x="152" y="178"/>
                  </a:cubicBezTo>
                  <a:cubicBezTo>
                    <a:pt x="160" y="173"/>
                    <a:pt x="169" y="167"/>
                    <a:pt x="177" y="160"/>
                  </a:cubicBezTo>
                  <a:lnTo>
                    <a:pt x="215" y="199"/>
                  </a:lnTo>
                  <a:cubicBezTo>
                    <a:pt x="204" y="211"/>
                    <a:pt x="191" y="221"/>
                    <a:pt x="177" y="229"/>
                  </a:cubicBezTo>
                  <a:cubicBezTo>
                    <a:pt x="162" y="237"/>
                    <a:pt x="144" y="241"/>
                    <a:pt x="121" y="241"/>
                  </a:cubicBez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3" name="Freeform 55">
              <a:extLst>
                <a:ext uri="{FF2B5EF4-FFF2-40B4-BE49-F238E27FC236}">
                  <a16:creationId xmlns:a16="http://schemas.microsoft.com/office/drawing/2014/main" id="{CBAD4793-71A2-E0B8-1F50-E435AFA8E3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0" y="468"/>
              <a:ext cx="8" cy="40"/>
            </a:xfrm>
            <a:custGeom>
              <a:avLst/>
              <a:gdLst>
                <a:gd name="T0" fmla="*/ 2 w 69"/>
                <a:gd name="T1" fmla="*/ 84 h 315"/>
                <a:gd name="T2" fmla="*/ 67 w 69"/>
                <a:gd name="T3" fmla="*/ 84 h 315"/>
                <a:gd name="T4" fmla="*/ 67 w 69"/>
                <a:gd name="T5" fmla="*/ 315 h 315"/>
                <a:gd name="T6" fmla="*/ 2 w 69"/>
                <a:gd name="T7" fmla="*/ 315 h 315"/>
                <a:gd name="T8" fmla="*/ 2 w 69"/>
                <a:gd name="T9" fmla="*/ 84 h 315"/>
                <a:gd name="T10" fmla="*/ 0 w 69"/>
                <a:gd name="T11" fmla="*/ 0 h 315"/>
                <a:gd name="T12" fmla="*/ 69 w 69"/>
                <a:gd name="T13" fmla="*/ 0 h 315"/>
                <a:gd name="T14" fmla="*/ 69 w 69"/>
                <a:gd name="T15" fmla="*/ 58 h 315"/>
                <a:gd name="T16" fmla="*/ 0 w 69"/>
                <a:gd name="T17" fmla="*/ 58 h 315"/>
                <a:gd name="T18" fmla="*/ 0 w 69"/>
                <a:gd name="T1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315">
                  <a:moveTo>
                    <a:pt x="2" y="84"/>
                  </a:moveTo>
                  <a:lnTo>
                    <a:pt x="67" y="84"/>
                  </a:lnTo>
                  <a:lnTo>
                    <a:pt x="67" y="315"/>
                  </a:lnTo>
                  <a:lnTo>
                    <a:pt x="2" y="315"/>
                  </a:lnTo>
                  <a:lnTo>
                    <a:pt x="2" y="84"/>
                  </a:lnTo>
                  <a:close/>
                  <a:moveTo>
                    <a:pt x="0" y="0"/>
                  </a:moveTo>
                  <a:lnTo>
                    <a:pt x="69" y="0"/>
                  </a:lnTo>
                  <a:lnTo>
                    <a:pt x="69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4" name="Freeform 56">
              <a:extLst>
                <a:ext uri="{FF2B5EF4-FFF2-40B4-BE49-F238E27FC236}">
                  <a16:creationId xmlns:a16="http://schemas.microsoft.com/office/drawing/2014/main" id="{CCFD80CA-B499-E3EC-56A0-F0D53EDD7A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" y="478"/>
              <a:ext cx="26" cy="30"/>
            </a:xfrm>
            <a:custGeom>
              <a:avLst/>
              <a:gdLst>
                <a:gd name="T0" fmla="*/ 99 w 212"/>
                <a:gd name="T1" fmla="*/ 193 h 238"/>
                <a:gd name="T2" fmla="*/ 136 w 212"/>
                <a:gd name="T3" fmla="*/ 181 h 238"/>
                <a:gd name="T4" fmla="*/ 150 w 212"/>
                <a:gd name="T5" fmla="*/ 152 h 238"/>
                <a:gd name="T6" fmla="*/ 150 w 212"/>
                <a:gd name="T7" fmla="*/ 141 h 238"/>
                <a:gd name="T8" fmla="*/ 131 w 212"/>
                <a:gd name="T9" fmla="*/ 134 h 238"/>
                <a:gd name="T10" fmla="*/ 108 w 212"/>
                <a:gd name="T11" fmla="*/ 132 h 238"/>
                <a:gd name="T12" fmla="*/ 75 w 212"/>
                <a:gd name="T13" fmla="*/ 140 h 238"/>
                <a:gd name="T14" fmla="*/ 63 w 212"/>
                <a:gd name="T15" fmla="*/ 164 h 238"/>
                <a:gd name="T16" fmla="*/ 63 w 212"/>
                <a:gd name="T17" fmla="*/ 165 h 238"/>
                <a:gd name="T18" fmla="*/ 73 w 212"/>
                <a:gd name="T19" fmla="*/ 185 h 238"/>
                <a:gd name="T20" fmla="*/ 99 w 212"/>
                <a:gd name="T21" fmla="*/ 193 h 238"/>
                <a:gd name="T22" fmla="*/ 79 w 212"/>
                <a:gd name="T23" fmla="*/ 238 h 238"/>
                <a:gd name="T24" fmla="*/ 48 w 212"/>
                <a:gd name="T25" fmla="*/ 233 h 238"/>
                <a:gd name="T26" fmla="*/ 23 w 212"/>
                <a:gd name="T27" fmla="*/ 220 h 238"/>
                <a:gd name="T28" fmla="*/ 6 w 212"/>
                <a:gd name="T29" fmla="*/ 198 h 238"/>
                <a:gd name="T30" fmla="*/ 0 w 212"/>
                <a:gd name="T31" fmla="*/ 167 h 238"/>
                <a:gd name="T32" fmla="*/ 0 w 212"/>
                <a:gd name="T33" fmla="*/ 166 h 238"/>
                <a:gd name="T34" fmla="*/ 7 w 212"/>
                <a:gd name="T35" fmla="*/ 134 h 238"/>
                <a:gd name="T36" fmla="*/ 26 w 212"/>
                <a:gd name="T37" fmla="*/ 111 h 238"/>
                <a:gd name="T38" fmla="*/ 55 w 212"/>
                <a:gd name="T39" fmla="*/ 97 h 238"/>
                <a:gd name="T40" fmla="*/ 93 w 212"/>
                <a:gd name="T41" fmla="*/ 93 h 238"/>
                <a:gd name="T42" fmla="*/ 124 w 212"/>
                <a:gd name="T43" fmla="*/ 95 h 238"/>
                <a:gd name="T44" fmla="*/ 149 w 212"/>
                <a:gd name="T45" fmla="*/ 102 h 238"/>
                <a:gd name="T46" fmla="*/ 149 w 212"/>
                <a:gd name="T47" fmla="*/ 98 h 238"/>
                <a:gd name="T48" fmla="*/ 137 w 212"/>
                <a:gd name="T49" fmla="*/ 67 h 238"/>
                <a:gd name="T50" fmla="*/ 100 w 212"/>
                <a:gd name="T51" fmla="*/ 56 h 238"/>
                <a:gd name="T52" fmla="*/ 66 w 212"/>
                <a:gd name="T53" fmla="*/ 59 h 238"/>
                <a:gd name="T54" fmla="*/ 36 w 212"/>
                <a:gd name="T55" fmla="*/ 69 h 238"/>
                <a:gd name="T56" fmla="*/ 20 w 212"/>
                <a:gd name="T57" fmla="*/ 19 h 238"/>
                <a:gd name="T58" fmla="*/ 59 w 212"/>
                <a:gd name="T59" fmla="*/ 5 h 238"/>
                <a:gd name="T60" fmla="*/ 109 w 212"/>
                <a:gd name="T61" fmla="*/ 0 h 238"/>
                <a:gd name="T62" fmla="*/ 156 w 212"/>
                <a:gd name="T63" fmla="*/ 7 h 238"/>
                <a:gd name="T64" fmla="*/ 187 w 212"/>
                <a:gd name="T65" fmla="*/ 26 h 238"/>
                <a:gd name="T66" fmla="*/ 206 w 212"/>
                <a:gd name="T67" fmla="*/ 58 h 238"/>
                <a:gd name="T68" fmla="*/ 212 w 212"/>
                <a:gd name="T69" fmla="*/ 100 h 238"/>
                <a:gd name="T70" fmla="*/ 212 w 212"/>
                <a:gd name="T71" fmla="*/ 234 h 238"/>
                <a:gd name="T72" fmla="*/ 149 w 212"/>
                <a:gd name="T73" fmla="*/ 234 h 238"/>
                <a:gd name="T74" fmla="*/ 149 w 212"/>
                <a:gd name="T75" fmla="*/ 209 h 238"/>
                <a:gd name="T76" fmla="*/ 120 w 212"/>
                <a:gd name="T77" fmla="*/ 230 h 238"/>
                <a:gd name="T78" fmla="*/ 79 w 212"/>
                <a:gd name="T7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2" h="238">
                  <a:moveTo>
                    <a:pt x="99" y="193"/>
                  </a:moveTo>
                  <a:cubicBezTo>
                    <a:pt x="115" y="193"/>
                    <a:pt x="127" y="189"/>
                    <a:pt x="136" y="181"/>
                  </a:cubicBezTo>
                  <a:cubicBezTo>
                    <a:pt x="146" y="174"/>
                    <a:pt x="150" y="164"/>
                    <a:pt x="150" y="152"/>
                  </a:cubicBezTo>
                  <a:lnTo>
                    <a:pt x="150" y="141"/>
                  </a:lnTo>
                  <a:cubicBezTo>
                    <a:pt x="145" y="138"/>
                    <a:pt x="138" y="136"/>
                    <a:pt x="131" y="134"/>
                  </a:cubicBezTo>
                  <a:cubicBezTo>
                    <a:pt x="124" y="133"/>
                    <a:pt x="117" y="132"/>
                    <a:pt x="108" y="132"/>
                  </a:cubicBezTo>
                  <a:cubicBezTo>
                    <a:pt x="94" y="132"/>
                    <a:pt x="83" y="135"/>
                    <a:pt x="75" y="140"/>
                  </a:cubicBezTo>
                  <a:cubicBezTo>
                    <a:pt x="67" y="146"/>
                    <a:pt x="63" y="153"/>
                    <a:pt x="63" y="164"/>
                  </a:cubicBezTo>
                  <a:lnTo>
                    <a:pt x="63" y="165"/>
                  </a:lnTo>
                  <a:cubicBezTo>
                    <a:pt x="63" y="174"/>
                    <a:pt x="67" y="180"/>
                    <a:pt x="73" y="185"/>
                  </a:cubicBezTo>
                  <a:cubicBezTo>
                    <a:pt x="80" y="190"/>
                    <a:pt x="88" y="193"/>
                    <a:pt x="99" y="193"/>
                  </a:cubicBezTo>
                  <a:close/>
                  <a:moveTo>
                    <a:pt x="79" y="238"/>
                  </a:moveTo>
                  <a:cubicBezTo>
                    <a:pt x="68" y="238"/>
                    <a:pt x="58" y="236"/>
                    <a:pt x="48" y="233"/>
                  </a:cubicBezTo>
                  <a:cubicBezTo>
                    <a:pt x="39" y="230"/>
                    <a:pt x="30" y="226"/>
                    <a:pt x="23" y="220"/>
                  </a:cubicBezTo>
                  <a:cubicBezTo>
                    <a:pt x="16" y="214"/>
                    <a:pt x="10" y="206"/>
                    <a:pt x="6" y="198"/>
                  </a:cubicBezTo>
                  <a:cubicBezTo>
                    <a:pt x="2" y="189"/>
                    <a:pt x="0" y="179"/>
                    <a:pt x="0" y="167"/>
                  </a:cubicBezTo>
                  <a:lnTo>
                    <a:pt x="0" y="166"/>
                  </a:lnTo>
                  <a:cubicBezTo>
                    <a:pt x="0" y="154"/>
                    <a:pt x="2" y="143"/>
                    <a:pt x="7" y="134"/>
                  </a:cubicBezTo>
                  <a:cubicBezTo>
                    <a:pt x="11" y="124"/>
                    <a:pt x="18" y="117"/>
                    <a:pt x="26" y="111"/>
                  </a:cubicBezTo>
                  <a:cubicBezTo>
                    <a:pt x="34" y="105"/>
                    <a:pt x="44" y="100"/>
                    <a:pt x="55" y="97"/>
                  </a:cubicBezTo>
                  <a:cubicBezTo>
                    <a:pt x="67" y="94"/>
                    <a:pt x="79" y="93"/>
                    <a:pt x="93" y="93"/>
                  </a:cubicBezTo>
                  <a:cubicBezTo>
                    <a:pt x="105" y="93"/>
                    <a:pt x="115" y="94"/>
                    <a:pt x="124" y="95"/>
                  </a:cubicBezTo>
                  <a:cubicBezTo>
                    <a:pt x="133" y="97"/>
                    <a:pt x="141" y="99"/>
                    <a:pt x="149" y="102"/>
                  </a:cubicBezTo>
                  <a:lnTo>
                    <a:pt x="149" y="98"/>
                  </a:lnTo>
                  <a:cubicBezTo>
                    <a:pt x="149" y="85"/>
                    <a:pt x="145" y="74"/>
                    <a:pt x="137" y="67"/>
                  </a:cubicBezTo>
                  <a:cubicBezTo>
                    <a:pt x="129" y="60"/>
                    <a:pt x="116" y="56"/>
                    <a:pt x="100" y="56"/>
                  </a:cubicBezTo>
                  <a:cubicBezTo>
                    <a:pt x="87" y="56"/>
                    <a:pt x="76" y="57"/>
                    <a:pt x="66" y="59"/>
                  </a:cubicBezTo>
                  <a:cubicBezTo>
                    <a:pt x="57" y="62"/>
                    <a:pt x="47" y="65"/>
                    <a:pt x="36" y="69"/>
                  </a:cubicBezTo>
                  <a:lnTo>
                    <a:pt x="20" y="19"/>
                  </a:lnTo>
                  <a:cubicBezTo>
                    <a:pt x="32" y="13"/>
                    <a:pt x="46" y="9"/>
                    <a:pt x="59" y="5"/>
                  </a:cubicBezTo>
                  <a:cubicBezTo>
                    <a:pt x="73" y="2"/>
                    <a:pt x="90" y="0"/>
                    <a:pt x="109" y="0"/>
                  </a:cubicBezTo>
                  <a:cubicBezTo>
                    <a:pt x="127" y="0"/>
                    <a:pt x="143" y="2"/>
                    <a:pt x="156" y="7"/>
                  </a:cubicBezTo>
                  <a:cubicBezTo>
                    <a:pt x="168" y="11"/>
                    <a:pt x="179" y="18"/>
                    <a:pt x="187" y="26"/>
                  </a:cubicBezTo>
                  <a:cubicBezTo>
                    <a:pt x="196" y="35"/>
                    <a:pt x="202" y="45"/>
                    <a:pt x="206" y="58"/>
                  </a:cubicBezTo>
                  <a:cubicBezTo>
                    <a:pt x="210" y="70"/>
                    <a:pt x="212" y="84"/>
                    <a:pt x="212" y="100"/>
                  </a:cubicBezTo>
                  <a:lnTo>
                    <a:pt x="212" y="234"/>
                  </a:lnTo>
                  <a:lnTo>
                    <a:pt x="149" y="234"/>
                  </a:lnTo>
                  <a:lnTo>
                    <a:pt x="149" y="209"/>
                  </a:lnTo>
                  <a:cubicBezTo>
                    <a:pt x="141" y="218"/>
                    <a:pt x="131" y="225"/>
                    <a:pt x="120" y="230"/>
                  </a:cubicBezTo>
                  <a:cubicBezTo>
                    <a:pt x="109" y="235"/>
                    <a:pt x="95" y="238"/>
                    <a:pt x="79" y="2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pic>
        <p:nvPicPr>
          <p:cNvPr id="115" name="Imagen 13" descr="C:\Users\mperis\AppData\Local\Microsoft\Windows\INetCache\Content.Word\logo-UE-nextgeneration-color-outline.emf">
            <a:extLst>
              <a:ext uri="{FF2B5EF4-FFF2-40B4-BE49-F238E27FC236}">
                <a16:creationId xmlns:a16="http://schemas.microsoft.com/office/drawing/2014/main" id="{63A6624B-175D-2A92-D559-17E3AC762AA9}"/>
              </a:ext>
            </a:extLst>
          </p:cNvPr>
          <p:cNvPicPr/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1062" t="-165968" r="-51959" b="-89032"/>
          <a:stretch/>
        </p:blipFill>
        <p:spPr bwMode="auto">
          <a:xfrm>
            <a:off x="9256712" y="-207806"/>
            <a:ext cx="2775759" cy="109396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909026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90"/>
            <a:ext cx="112522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1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65818"/>
            <a:ext cx="11252201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64E6A1-CE6E-EC6B-BD8A-84A663DD10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76220" y="282006"/>
            <a:ext cx="1372848" cy="326767"/>
          </a:xfrm>
          <a:prstGeom prst="rect">
            <a:avLst/>
          </a:prstGeom>
        </p:spPr>
      </p:pic>
      <p:grpSp>
        <p:nvGrpSpPr>
          <p:cNvPr id="6" name="Group 4">
            <a:extLst>
              <a:ext uri="{FF2B5EF4-FFF2-40B4-BE49-F238E27FC236}">
                <a16:creationId xmlns:a16="http://schemas.microsoft.com/office/drawing/2014/main" id="{451575F4-BC6F-CCDB-BA1E-A8400D97A64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048424" y="304102"/>
            <a:ext cx="1314450" cy="273050"/>
            <a:chOff x="1915" y="345"/>
            <a:chExt cx="828" cy="172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FF97E5AD-7011-AE26-62B6-0BB23ACFF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345"/>
              <a:ext cx="96" cy="170"/>
            </a:xfrm>
            <a:custGeom>
              <a:avLst/>
              <a:gdLst>
                <a:gd name="T0" fmla="*/ 96 w 96"/>
                <a:gd name="T1" fmla="*/ 0 h 170"/>
                <a:gd name="T2" fmla="*/ 96 w 96"/>
                <a:gd name="T3" fmla="*/ 34 h 170"/>
                <a:gd name="T4" fmla="*/ 66 w 96"/>
                <a:gd name="T5" fmla="*/ 34 h 170"/>
                <a:gd name="T6" fmla="*/ 66 w 96"/>
                <a:gd name="T7" fmla="*/ 170 h 170"/>
                <a:gd name="T8" fmla="*/ 30 w 96"/>
                <a:gd name="T9" fmla="*/ 170 h 170"/>
                <a:gd name="T10" fmla="*/ 30 w 96"/>
                <a:gd name="T11" fmla="*/ 34 h 170"/>
                <a:gd name="T12" fmla="*/ 0 w 96"/>
                <a:gd name="T13" fmla="*/ 34 h 170"/>
                <a:gd name="T14" fmla="*/ 0 w 96"/>
                <a:gd name="T15" fmla="*/ 0 h 170"/>
                <a:gd name="T16" fmla="*/ 96 w 96"/>
                <a:gd name="T1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70">
                  <a:moveTo>
                    <a:pt x="96" y="0"/>
                  </a:moveTo>
                  <a:lnTo>
                    <a:pt x="96" y="34"/>
                  </a:lnTo>
                  <a:lnTo>
                    <a:pt x="66" y="34"/>
                  </a:lnTo>
                  <a:lnTo>
                    <a:pt x="66" y="170"/>
                  </a:lnTo>
                  <a:lnTo>
                    <a:pt x="30" y="170"/>
                  </a:lnTo>
                  <a:lnTo>
                    <a:pt x="30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D21A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BCC2F0D2-22ED-ABED-0387-33C4FEE6E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" y="461"/>
              <a:ext cx="76" cy="54"/>
            </a:xfrm>
            <a:custGeom>
              <a:avLst/>
              <a:gdLst>
                <a:gd name="T0" fmla="*/ 313 w 617"/>
                <a:gd name="T1" fmla="*/ 0 h 423"/>
                <a:gd name="T2" fmla="*/ 273 w 617"/>
                <a:gd name="T3" fmla="*/ 12 h 423"/>
                <a:gd name="T4" fmla="*/ 73 w 617"/>
                <a:gd name="T5" fmla="*/ 51 h 423"/>
                <a:gd name="T6" fmla="*/ 0 w 617"/>
                <a:gd name="T7" fmla="*/ 53 h 423"/>
                <a:gd name="T8" fmla="*/ 264 w 617"/>
                <a:gd name="T9" fmla="*/ 423 h 423"/>
                <a:gd name="T10" fmla="*/ 617 w 617"/>
                <a:gd name="T11" fmla="*/ 423 h 423"/>
                <a:gd name="T12" fmla="*/ 313 w 617"/>
                <a:gd name="T13" fmla="*/ 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7" h="423">
                  <a:moveTo>
                    <a:pt x="313" y="0"/>
                  </a:moveTo>
                  <a:lnTo>
                    <a:pt x="273" y="12"/>
                  </a:lnTo>
                  <a:cubicBezTo>
                    <a:pt x="208" y="33"/>
                    <a:pt x="141" y="46"/>
                    <a:pt x="73" y="51"/>
                  </a:cubicBezTo>
                  <a:lnTo>
                    <a:pt x="0" y="53"/>
                  </a:lnTo>
                  <a:lnTo>
                    <a:pt x="264" y="423"/>
                  </a:lnTo>
                  <a:lnTo>
                    <a:pt x="617" y="423"/>
                  </a:lnTo>
                  <a:lnTo>
                    <a:pt x="313" y="0"/>
                  </a:lnTo>
                  <a:close/>
                </a:path>
              </a:pathLst>
            </a:custGeom>
            <a:solidFill>
              <a:srgbClr val="D21A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4A8295FA-E521-B63D-2341-9E19784C8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4" y="482"/>
              <a:ext cx="28" cy="26"/>
            </a:xfrm>
            <a:custGeom>
              <a:avLst/>
              <a:gdLst>
                <a:gd name="T0" fmla="*/ 28 w 28"/>
                <a:gd name="T1" fmla="*/ 10 h 26"/>
                <a:gd name="T2" fmla="*/ 18 w 28"/>
                <a:gd name="T3" fmla="*/ 10 h 26"/>
                <a:gd name="T4" fmla="*/ 16 w 28"/>
                <a:gd name="T5" fmla="*/ 0 h 26"/>
                <a:gd name="T6" fmla="*/ 11 w 28"/>
                <a:gd name="T7" fmla="*/ 9 h 26"/>
                <a:gd name="T8" fmla="*/ 0 w 28"/>
                <a:gd name="T9" fmla="*/ 8 h 26"/>
                <a:gd name="T10" fmla="*/ 7 w 28"/>
                <a:gd name="T11" fmla="*/ 15 h 26"/>
                <a:gd name="T12" fmla="*/ 2 w 28"/>
                <a:gd name="T13" fmla="*/ 25 h 26"/>
                <a:gd name="T14" fmla="*/ 12 w 28"/>
                <a:gd name="T15" fmla="*/ 20 h 26"/>
                <a:gd name="T16" fmla="*/ 22 w 28"/>
                <a:gd name="T17" fmla="*/ 26 h 26"/>
                <a:gd name="T18" fmla="*/ 19 w 28"/>
                <a:gd name="T19" fmla="*/ 16 h 26"/>
                <a:gd name="T20" fmla="*/ 28 w 28"/>
                <a:gd name="T21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0"/>
                  </a:moveTo>
                  <a:lnTo>
                    <a:pt x="18" y="10"/>
                  </a:lnTo>
                  <a:lnTo>
                    <a:pt x="16" y="0"/>
                  </a:lnTo>
                  <a:lnTo>
                    <a:pt x="11" y="9"/>
                  </a:lnTo>
                  <a:lnTo>
                    <a:pt x="0" y="8"/>
                  </a:lnTo>
                  <a:lnTo>
                    <a:pt x="7" y="15"/>
                  </a:lnTo>
                  <a:lnTo>
                    <a:pt x="2" y="25"/>
                  </a:lnTo>
                  <a:lnTo>
                    <a:pt x="12" y="20"/>
                  </a:lnTo>
                  <a:lnTo>
                    <a:pt x="22" y="26"/>
                  </a:lnTo>
                  <a:lnTo>
                    <a:pt x="19" y="16"/>
                  </a:lnTo>
                  <a:lnTo>
                    <a:pt x="28" y="10"/>
                  </a:ln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CC89380B-9289-F6A7-9896-44586A72B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6" y="449"/>
              <a:ext cx="27" cy="24"/>
            </a:xfrm>
            <a:custGeom>
              <a:avLst/>
              <a:gdLst>
                <a:gd name="T0" fmla="*/ 27 w 27"/>
                <a:gd name="T1" fmla="*/ 9 h 24"/>
                <a:gd name="T2" fmla="*/ 17 w 27"/>
                <a:gd name="T3" fmla="*/ 9 h 24"/>
                <a:gd name="T4" fmla="*/ 15 w 27"/>
                <a:gd name="T5" fmla="*/ 0 h 24"/>
                <a:gd name="T6" fmla="*/ 10 w 27"/>
                <a:gd name="T7" fmla="*/ 8 h 24"/>
                <a:gd name="T8" fmla="*/ 0 w 27"/>
                <a:gd name="T9" fmla="*/ 8 h 24"/>
                <a:gd name="T10" fmla="*/ 7 w 27"/>
                <a:gd name="T11" fmla="*/ 14 h 24"/>
                <a:gd name="T12" fmla="*/ 1 w 27"/>
                <a:gd name="T13" fmla="*/ 23 h 24"/>
                <a:gd name="T14" fmla="*/ 11 w 27"/>
                <a:gd name="T15" fmla="*/ 18 h 24"/>
                <a:gd name="T16" fmla="*/ 19 w 27"/>
                <a:gd name="T17" fmla="*/ 24 h 24"/>
                <a:gd name="T18" fmla="*/ 18 w 27"/>
                <a:gd name="T19" fmla="*/ 15 h 24"/>
                <a:gd name="T20" fmla="*/ 27 w 27"/>
                <a:gd name="T2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24">
                  <a:moveTo>
                    <a:pt x="27" y="9"/>
                  </a:moveTo>
                  <a:lnTo>
                    <a:pt x="17" y="9"/>
                  </a:lnTo>
                  <a:lnTo>
                    <a:pt x="15" y="0"/>
                  </a:lnTo>
                  <a:lnTo>
                    <a:pt x="10" y="8"/>
                  </a:lnTo>
                  <a:lnTo>
                    <a:pt x="0" y="8"/>
                  </a:lnTo>
                  <a:lnTo>
                    <a:pt x="7" y="14"/>
                  </a:lnTo>
                  <a:lnTo>
                    <a:pt x="1" y="23"/>
                  </a:lnTo>
                  <a:lnTo>
                    <a:pt x="11" y="18"/>
                  </a:lnTo>
                  <a:lnTo>
                    <a:pt x="19" y="24"/>
                  </a:lnTo>
                  <a:lnTo>
                    <a:pt x="18" y="15"/>
                  </a:lnTo>
                  <a:lnTo>
                    <a:pt x="27" y="9"/>
                  </a:ln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93F7B9F0-1ED6-3EA7-8D92-BD184DC4E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5" y="414"/>
              <a:ext cx="24" cy="20"/>
            </a:xfrm>
            <a:custGeom>
              <a:avLst/>
              <a:gdLst>
                <a:gd name="T0" fmla="*/ 24 w 24"/>
                <a:gd name="T1" fmla="*/ 8 h 20"/>
                <a:gd name="T2" fmla="*/ 15 w 24"/>
                <a:gd name="T3" fmla="*/ 7 h 20"/>
                <a:gd name="T4" fmla="*/ 14 w 24"/>
                <a:gd name="T5" fmla="*/ 0 h 20"/>
                <a:gd name="T6" fmla="*/ 9 w 24"/>
                <a:gd name="T7" fmla="*/ 7 h 20"/>
                <a:gd name="T8" fmla="*/ 0 w 24"/>
                <a:gd name="T9" fmla="*/ 6 h 20"/>
                <a:gd name="T10" fmla="*/ 6 w 24"/>
                <a:gd name="T11" fmla="*/ 12 h 20"/>
                <a:gd name="T12" fmla="*/ 1 w 24"/>
                <a:gd name="T13" fmla="*/ 19 h 20"/>
                <a:gd name="T14" fmla="*/ 11 w 24"/>
                <a:gd name="T15" fmla="*/ 15 h 20"/>
                <a:gd name="T16" fmla="*/ 18 w 24"/>
                <a:gd name="T17" fmla="*/ 20 h 20"/>
                <a:gd name="T18" fmla="*/ 16 w 24"/>
                <a:gd name="T19" fmla="*/ 13 h 20"/>
                <a:gd name="T20" fmla="*/ 24 w 24"/>
                <a:gd name="T21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20">
                  <a:moveTo>
                    <a:pt x="24" y="8"/>
                  </a:moveTo>
                  <a:lnTo>
                    <a:pt x="15" y="7"/>
                  </a:lnTo>
                  <a:lnTo>
                    <a:pt x="14" y="0"/>
                  </a:lnTo>
                  <a:lnTo>
                    <a:pt x="9" y="7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" y="19"/>
                  </a:lnTo>
                  <a:lnTo>
                    <a:pt x="11" y="15"/>
                  </a:lnTo>
                  <a:lnTo>
                    <a:pt x="18" y="20"/>
                  </a:lnTo>
                  <a:lnTo>
                    <a:pt x="16" y="13"/>
                  </a:lnTo>
                  <a:lnTo>
                    <a:pt x="24" y="8"/>
                  </a:ln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1CFA8285-6994-41C3-6733-F2FCF2817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5" y="387"/>
              <a:ext cx="21" cy="16"/>
            </a:xfrm>
            <a:custGeom>
              <a:avLst/>
              <a:gdLst>
                <a:gd name="T0" fmla="*/ 21 w 21"/>
                <a:gd name="T1" fmla="*/ 6 h 16"/>
                <a:gd name="T2" fmla="*/ 13 w 21"/>
                <a:gd name="T3" fmla="*/ 6 h 16"/>
                <a:gd name="T4" fmla="*/ 12 w 21"/>
                <a:gd name="T5" fmla="*/ 0 h 16"/>
                <a:gd name="T6" fmla="*/ 8 w 21"/>
                <a:gd name="T7" fmla="*/ 6 h 16"/>
                <a:gd name="T8" fmla="*/ 0 w 21"/>
                <a:gd name="T9" fmla="*/ 5 h 16"/>
                <a:gd name="T10" fmla="*/ 5 w 21"/>
                <a:gd name="T11" fmla="*/ 9 h 16"/>
                <a:gd name="T12" fmla="*/ 0 w 21"/>
                <a:gd name="T13" fmla="*/ 15 h 16"/>
                <a:gd name="T14" fmla="*/ 9 w 21"/>
                <a:gd name="T15" fmla="*/ 12 h 16"/>
                <a:gd name="T16" fmla="*/ 15 w 21"/>
                <a:gd name="T17" fmla="*/ 16 h 16"/>
                <a:gd name="T18" fmla="*/ 14 w 21"/>
                <a:gd name="T19" fmla="*/ 10 h 16"/>
                <a:gd name="T20" fmla="*/ 21 w 21"/>
                <a:gd name="T21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6">
                  <a:moveTo>
                    <a:pt x="21" y="6"/>
                  </a:moveTo>
                  <a:lnTo>
                    <a:pt x="13" y="6"/>
                  </a:lnTo>
                  <a:lnTo>
                    <a:pt x="12" y="0"/>
                  </a:lnTo>
                  <a:lnTo>
                    <a:pt x="8" y="6"/>
                  </a:lnTo>
                  <a:lnTo>
                    <a:pt x="0" y="5"/>
                  </a:lnTo>
                  <a:lnTo>
                    <a:pt x="5" y="9"/>
                  </a:lnTo>
                  <a:lnTo>
                    <a:pt x="0" y="15"/>
                  </a:lnTo>
                  <a:lnTo>
                    <a:pt x="9" y="12"/>
                  </a:lnTo>
                  <a:lnTo>
                    <a:pt x="15" y="16"/>
                  </a:lnTo>
                  <a:lnTo>
                    <a:pt x="14" y="10"/>
                  </a:lnTo>
                  <a:lnTo>
                    <a:pt x="21" y="6"/>
                  </a:ln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B685D56C-0FA9-391E-6F4E-FB5309722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8" y="345"/>
              <a:ext cx="94" cy="120"/>
            </a:xfrm>
            <a:custGeom>
              <a:avLst/>
              <a:gdLst>
                <a:gd name="T0" fmla="*/ 726 w 763"/>
                <a:gd name="T1" fmla="*/ 275 h 935"/>
                <a:gd name="T2" fmla="*/ 620 w 763"/>
                <a:gd name="T3" fmla="*/ 129 h 935"/>
                <a:gd name="T4" fmla="*/ 452 w 763"/>
                <a:gd name="T5" fmla="*/ 35 h 935"/>
                <a:gd name="T6" fmla="*/ 243 w 763"/>
                <a:gd name="T7" fmla="*/ 2 h 935"/>
                <a:gd name="T8" fmla="*/ 243 w 763"/>
                <a:gd name="T9" fmla="*/ 266 h 935"/>
                <a:gd name="T10" fmla="*/ 384 w 763"/>
                <a:gd name="T11" fmla="*/ 318 h 935"/>
                <a:gd name="T12" fmla="*/ 451 w 763"/>
                <a:gd name="T13" fmla="*/ 468 h 935"/>
                <a:gd name="T14" fmla="*/ 451 w 763"/>
                <a:gd name="T15" fmla="*/ 472 h 935"/>
                <a:gd name="T16" fmla="*/ 387 w 763"/>
                <a:gd name="T17" fmla="*/ 616 h 935"/>
                <a:gd name="T18" fmla="*/ 208 w 763"/>
                <a:gd name="T19" fmla="*/ 674 h 935"/>
                <a:gd name="T20" fmla="*/ 0 w 763"/>
                <a:gd name="T21" fmla="*/ 674 h 935"/>
                <a:gd name="T22" fmla="*/ 0 w 763"/>
                <a:gd name="T23" fmla="*/ 935 h 935"/>
                <a:gd name="T24" fmla="*/ 198 w 763"/>
                <a:gd name="T25" fmla="*/ 935 h 935"/>
                <a:gd name="T26" fmla="*/ 418 w 763"/>
                <a:gd name="T27" fmla="*/ 905 h 935"/>
                <a:gd name="T28" fmla="*/ 598 w 763"/>
                <a:gd name="T29" fmla="*/ 817 h 935"/>
                <a:gd name="T30" fmla="*/ 719 w 763"/>
                <a:gd name="T31" fmla="*/ 670 h 935"/>
                <a:gd name="T32" fmla="*/ 763 w 763"/>
                <a:gd name="T33" fmla="*/ 466 h 935"/>
                <a:gd name="T34" fmla="*/ 763 w 763"/>
                <a:gd name="T35" fmla="*/ 462 h 935"/>
                <a:gd name="T36" fmla="*/ 726 w 763"/>
                <a:gd name="T37" fmla="*/ 275 h 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63" h="935">
                  <a:moveTo>
                    <a:pt x="726" y="275"/>
                  </a:moveTo>
                  <a:cubicBezTo>
                    <a:pt x="701" y="219"/>
                    <a:pt x="666" y="170"/>
                    <a:pt x="620" y="129"/>
                  </a:cubicBezTo>
                  <a:cubicBezTo>
                    <a:pt x="574" y="89"/>
                    <a:pt x="518" y="57"/>
                    <a:pt x="452" y="35"/>
                  </a:cubicBezTo>
                  <a:cubicBezTo>
                    <a:pt x="345" y="0"/>
                    <a:pt x="243" y="2"/>
                    <a:pt x="243" y="2"/>
                  </a:cubicBezTo>
                  <a:cubicBezTo>
                    <a:pt x="243" y="90"/>
                    <a:pt x="244" y="177"/>
                    <a:pt x="243" y="266"/>
                  </a:cubicBezTo>
                  <a:cubicBezTo>
                    <a:pt x="290" y="271"/>
                    <a:pt x="340" y="284"/>
                    <a:pt x="384" y="318"/>
                  </a:cubicBezTo>
                  <a:cubicBezTo>
                    <a:pt x="429" y="352"/>
                    <a:pt x="451" y="402"/>
                    <a:pt x="451" y="468"/>
                  </a:cubicBezTo>
                  <a:lnTo>
                    <a:pt x="451" y="472"/>
                  </a:lnTo>
                  <a:cubicBezTo>
                    <a:pt x="451" y="529"/>
                    <a:pt x="430" y="577"/>
                    <a:pt x="387" y="616"/>
                  </a:cubicBezTo>
                  <a:cubicBezTo>
                    <a:pt x="345" y="654"/>
                    <a:pt x="285" y="674"/>
                    <a:pt x="208" y="674"/>
                  </a:cubicBezTo>
                  <a:lnTo>
                    <a:pt x="0" y="674"/>
                  </a:lnTo>
                  <a:cubicBezTo>
                    <a:pt x="0" y="762"/>
                    <a:pt x="0" y="847"/>
                    <a:pt x="0" y="935"/>
                  </a:cubicBezTo>
                  <a:lnTo>
                    <a:pt x="198" y="935"/>
                  </a:lnTo>
                  <a:cubicBezTo>
                    <a:pt x="276" y="935"/>
                    <a:pt x="350" y="925"/>
                    <a:pt x="418" y="905"/>
                  </a:cubicBezTo>
                  <a:cubicBezTo>
                    <a:pt x="487" y="885"/>
                    <a:pt x="547" y="856"/>
                    <a:pt x="598" y="817"/>
                  </a:cubicBezTo>
                  <a:cubicBezTo>
                    <a:pt x="649" y="777"/>
                    <a:pt x="689" y="728"/>
                    <a:pt x="719" y="670"/>
                  </a:cubicBezTo>
                  <a:cubicBezTo>
                    <a:pt x="748" y="612"/>
                    <a:pt x="763" y="544"/>
                    <a:pt x="763" y="466"/>
                  </a:cubicBezTo>
                  <a:lnTo>
                    <a:pt x="763" y="462"/>
                  </a:lnTo>
                  <a:cubicBezTo>
                    <a:pt x="763" y="394"/>
                    <a:pt x="750" y="331"/>
                    <a:pt x="726" y="275"/>
                  </a:cubicBez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346CB157-1F77-7678-2673-5C694FC7F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5" y="356"/>
              <a:ext cx="29" cy="38"/>
            </a:xfrm>
            <a:custGeom>
              <a:avLst/>
              <a:gdLst>
                <a:gd name="T0" fmla="*/ 118 w 238"/>
                <a:gd name="T1" fmla="*/ 152 h 302"/>
                <a:gd name="T2" fmla="*/ 157 w 238"/>
                <a:gd name="T3" fmla="*/ 139 h 302"/>
                <a:gd name="T4" fmla="*/ 171 w 238"/>
                <a:gd name="T5" fmla="*/ 106 h 302"/>
                <a:gd name="T6" fmla="*/ 171 w 238"/>
                <a:gd name="T7" fmla="*/ 106 h 302"/>
                <a:gd name="T8" fmla="*/ 157 w 238"/>
                <a:gd name="T9" fmla="*/ 72 h 302"/>
                <a:gd name="T10" fmla="*/ 117 w 238"/>
                <a:gd name="T11" fmla="*/ 60 h 302"/>
                <a:gd name="T12" fmla="*/ 66 w 238"/>
                <a:gd name="T13" fmla="*/ 60 h 302"/>
                <a:gd name="T14" fmla="*/ 66 w 238"/>
                <a:gd name="T15" fmla="*/ 152 h 302"/>
                <a:gd name="T16" fmla="*/ 118 w 238"/>
                <a:gd name="T17" fmla="*/ 152 h 302"/>
                <a:gd name="T18" fmla="*/ 0 w 238"/>
                <a:gd name="T19" fmla="*/ 0 h 302"/>
                <a:gd name="T20" fmla="*/ 123 w 238"/>
                <a:gd name="T21" fmla="*/ 0 h 302"/>
                <a:gd name="T22" fmla="*/ 171 w 238"/>
                <a:gd name="T23" fmla="*/ 8 h 302"/>
                <a:gd name="T24" fmla="*/ 207 w 238"/>
                <a:gd name="T25" fmla="*/ 29 h 302"/>
                <a:gd name="T26" fmla="*/ 230 w 238"/>
                <a:gd name="T27" fmla="*/ 62 h 302"/>
                <a:gd name="T28" fmla="*/ 238 w 238"/>
                <a:gd name="T29" fmla="*/ 104 h 302"/>
                <a:gd name="T30" fmla="*/ 238 w 238"/>
                <a:gd name="T31" fmla="*/ 105 h 302"/>
                <a:gd name="T32" fmla="*/ 229 w 238"/>
                <a:gd name="T33" fmla="*/ 151 h 302"/>
                <a:gd name="T34" fmla="*/ 203 w 238"/>
                <a:gd name="T35" fmla="*/ 184 h 302"/>
                <a:gd name="T36" fmla="*/ 164 w 238"/>
                <a:gd name="T37" fmla="*/ 204 h 302"/>
                <a:gd name="T38" fmla="*/ 116 w 238"/>
                <a:gd name="T39" fmla="*/ 211 h 302"/>
                <a:gd name="T40" fmla="*/ 66 w 238"/>
                <a:gd name="T41" fmla="*/ 211 h 302"/>
                <a:gd name="T42" fmla="*/ 66 w 238"/>
                <a:gd name="T43" fmla="*/ 302 h 302"/>
                <a:gd name="T44" fmla="*/ 0 w 238"/>
                <a:gd name="T45" fmla="*/ 302 h 302"/>
                <a:gd name="T46" fmla="*/ 0 w 238"/>
                <a:gd name="T4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8" h="302">
                  <a:moveTo>
                    <a:pt x="118" y="152"/>
                  </a:moveTo>
                  <a:cubicBezTo>
                    <a:pt x="135" y="152"/>
                    <a:pt x="148" y="148"/>
                    <a:pt x="157" y="139"/>
                  </a:cubicBezTo>
                  <a:cubicBezTo>
                    <a:pt x="166" y="130"/>
                    <a:pt x="171" y="119"/>
                    <a:pt x="171" y="106"/>
                  </a:cubicBezTo>
                  <a:lnTo>
                    <a:pt x="171" y="106"/>
                  </a:lnTo>
                  <a:cubicBezTo>
                    <a:pt x="171" y="91"/>
                    <a:pt x="166" y="79"/>
                    <a:pt x="157" y="72"/>
                  </a:cubicBezTo>
                  <a:cubicBezTo>
                    <a:pt x="147" y="64"/>
                    <a:pt x="134" y="60"/>
                    <a:pt x="117" y="60"/>
                  </a:cubicBezTo>
                  <a:lnTo>
                    <a:pt x="66" y="60"/>
                  </a:lnTo>
                  <a:lnTo>
                    <a:pt x="66" y="152"/>
                  </a:lnTo>
                  <a:lnTo>
                    <a:pt x="118" y="152"/>
                  </a:lnTo>
                  <a:close/>
                  <a:moveTo>
                    <a:pt x="0" y="0"/>
                  </a:moveTo>
                  <a:lnTo>
                    <a:pt x="123" y="0"/>
                  </a:lnTo>
                  <a:cubicBezTo>
                    <a:pt x="141" y="0"/>
                    <a:pt x="157" y="3"/>
                    <a:pt x="171" y="8"/>
                  </a:cubicBezTo>
                  <a:cubicBezTo>
                    <a:pt x="185" y="13"/>
                    <a:pt x="197" y="20"/>
                    <a:pt x="207" y="29"/>
                  </a:cubicBezTo>
                  <a:cubicBezTo>
                    <a:pt x="217" y="38"/>
                    <a:pt x="225" y="49"/>
                    <a:pt x="230" y="62"/>
                  </a:cubicBezTo>
                  <a:cubicBezTo>
                    <a:pt x="236" y="75"/>
                    <a:pt x="238" y="89"/>
                    <a:pt x="238" y="104"/>
                  </a:cubicBezTo>
                  <a:lnTo>
                    <a:pt x="238" y="105"/>
                  </a:lnTo>
                  <a:cubicBezTo>
                    <a:pt x="238" y="123"/>
                    <a:pt x="235" y="138"/>
                    <a:pt x="229" y="151"/>
                  </a:cubicBezTo>
                  <a:cubicBezTo>
                    <a:pt x="222" y="164"/>
                    <a:pt x="214" y="175"/>
                    <a:pt x="203" y="184"/>
                  </a:cubicBezTo>
                  <a:cubicBezTo>
                    <a:pt x="192" y="193"/>
                    <a:pt x="179" y="200"/>
                    <a:pt x="164" y="204"/>
                  </a:cubicBezTo>
                  <a:cubicBezTo>
                    <a:pt x="149" y="209"/>
                    <a:pt x="133" y="211"/>
                    <a:pt x="116" y="211"/>
                  </a:cubicBezTo>
                  <a:lnTo>
                    <a:pt x="66" y="211"/>
                  </a:lnTo>
                  <a:lnTo>
                    <a:pt x="66" y="302"/>
                  </a:lnTo>
                  <a:lnTo>
                    <a:pt x="0" y="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Rectangle 13">
              <a:extLst>
                <a:ext uri="{FF2B5EF4-FFF2-40B4-BE49-F238E27FC236}">
                  <a16:creationId xmlns:a16="http://schemas.microsoft.com/office/drawing/2014/main" id="{216D9781-31F5-5EC0-BC49-0A824C82F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0" y="354"/>
              <a:ext cx="8" cy="40"/>
            </a:xfrm>
            <a:prstGeom prst="rect">
              <a:avLst/>
            </a:pr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F7E8AC85-05E8-3F3F-77FF-8495E6E06C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" y="364"/>
              <a:ext cx="26" cy="31"/>
            </a:xfrm>
            <a:custGeom>
              <a:avLst/>
              <a:gdLst>
                <a:gd name="T0" fmla="*/ 99 w 212"/>
                <a:gd name="T1" fmla="*/ 193 h 238"/>
                <a:gd name="T2" fmla="*/ 136 w 212"/>
                <a:gd name="T3" fmla="*/ 181 h 238"/>
                <a:gd name="T4" fmla="*/ 150 w 212"/>
                <a:gd name="T5" fmla="*/ 152 h 238"/>
                <a:gd name="T6" fmla="*/ 150 w 212"/>
                <a:gd name="T7" fmla="*/ 141 h 238"/>
                <a:gd name="T8" fmla="*/ 131 w 212"/>
                <a:gd name="T9" fmla="*/ 134 h 238"/>
                <a:gd name="T10" fmla="*/ 108 w 212"/>
                <a:gd name="T11" fmla="*/ 132 h 238"/>
                <a:gd name="T12" fmla="*/ 75 w 212"/>
                <a:gd name="T13" fmla="*/ 140 h 238"/>
                <a:gd name="T14" fmla="*/ 63 w 212"/>
                <a:gd name="T15" fmla="*/ 164 h 238"/>
                <a:gd name="T16" fmla="*/ 63 w 212"/>
                <a:gd name="T17" fmla="*/ 165 h 238"/>
                <a:gd name="T18" fmla="*/ 73 w 212"/>
                <a:gd name="T19" fmla="*/ 185 h 238"/>
                <a:gd name="T20" fmla="*/ 99 w 212"/>
                <a:gd name="T21" fmla="*/ 193 h 238"/>
                <a:gd name="T22" fmla="*/ 79 w 212"/>
                <a:gd name="T23" fmla="*/ 238 h 238"/>
                <a:gd name="T24" fmla="*/ 48 w 212"/>
                <a:gd name="T25" fmla="*/ 233 h 238"/>
                <a:gd name="T26" fmla="*/ 23 w 212"/>
                <a:gd name="T27" fmla="*/ 220 h 238"/>
                <a:gd name="T28" fmla="*/ 6 w 212"/>
                <a:gd name="T29" fmla="*/ 198 h 238"/>
                <a:gd name="T30" fmla="*/ 0 w 212"/>
                <a:gd name="T31" fmla="*/ 167 h 238"/>
                <a:gd name="T32" fmla="*/ 0 w 212"/>
                <a:gd name="T33" fmla="*/ 166 h 238"/>
                <a:gd name="T34" fmla="*/ 7 w 212"/>
                <a:gd name="T35" fmla="*/ 134 h 238"/>
                <a:gd name="T36" fmla="*/ 26 w 212"/>
                <a:gd name="T37" fmla="*/ 111 h 238"/>
                <a:gd name="T38" fmla="*/ 55 w 212"/>
                <a:gd name="T39" fmla="*/ 97 h 238"/>
                <a:gd name="T40" fmla="*/ 93 w 212"/>
                <a:gd name="T41" fmla="*/ 93 h 238"/>
                <a:gd name="T42" fmla="*/ 124 w 212"/>
                <a:gd name="T43" fmla="*/ 95 h 238"/>
                <a:gd name="T44" fmla="*/ 149 w 212"/>
                <a:gd name="T45" fmla="*/ 102 h 238"/>
                <a:gd name="T46" fmla="*/ 149 w 212"/>
                <a:gd name="T47" fmla="*/ 98 h 238"/>
                <a:gd name="T48" fmla="*/ 137 w 212"/>
                <a:gd name="T49" fmla="*/ 67 h 238"/>
                <a:gd name="T50" fmla="*/ 100 w 212"/>
                <a:gd name="T51" fmla="*/ 56 h 238"/>
                <a:gd name="T52" fmla="*/ 66 w 212"/>
                <a:gd name="T53" fmla="*/ 59 h 238"/>
                <a:gd name="T54" fmla="*/ 36 w 212"/>
                <a:gd name="T55" fmla="*/ 69 h 238"/>
                <a:gd name="T56" fmla="*/ 20 w 212"/>
                <a:gd name="T57" fmla="*/ 19 h 238"/>
                <a:gd name="T58" fmla="*/ 59 w 212"/>
                <a:gd name="T59" fmla="*/ 5 h 238"/>
                <a:gd name="T60" fmla="*/ 109 w 212"/>
                <a:gd name="T61" fmla="*/ 0 h 238"/>
                <a:gd name="T62" fmla="*/ 155 w 212"/>
                <a:gd name="T63" fmla="*/ 7 h 238"/>
                <a:gd name="T64" fmla="*/ 187 w 212"/>
                <a:gd name="T65" fmla="*/ 26 h 238"/>
                <a:gd name="T66" fmla="*/ 206 w 212"/>
                <a:gd name="T67" fmla="*/ 58 h 238"/>
                <a:gd name="T68" fmla="*/ 212 w 212"/>
                <a:gd name="T69" fmla="*/ 100 h 238"/>
                <a:gd name="T70" fmla="*/ 212 w 212"/>
                <a:gd name="T71" fmla="*/ 234 h 238"/>
                <a:gd name="T72" fmla="*/ 149 w 212"/>
                <a:gd name="T73" fmla="*/ 234 h 238"/>
                <a:gd name="T74" fmla="*/ 149 w 212"/>
                <a:gd name="T75" fmla="*/ 209 h 238"/>
                <a:gd name="T76" fmla="*/ 120 w 212"/>
                <a:gd name="T77" fmla="*/ 230 h 238"/>
                <a:gd name="T78" fmla="*/ 79 w 212"/>
                <a:gd name="T7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2" h="238">
                  <a:moveTo>
                    <a:pt x="99" y="193"/>
                  </a:moveTo>
                  <a:cubicBezTo>
                    <a:pt x="114" y="193"/>
                    <a:pt x="127" y="189"/>
                    <a:pt x="136" y="181"/>
                  </a:cubicBezTo>
                  <a:cubicBezTo>
                    <a:pt x="145" y="174"/>
                    <a:pt x="150" y="164"/>
                    <a:pt x="150" y="152"/>
                  </a:cubicBezTo>
                  <a:lnTo>
                    <a:pt x="150" y="141"/>
                  </a:lnTo>
                  <a:cubicBezTo>
                    <a:pt x="144" y="138"/>
                    <a:pt x="138" y="136"/>
                    <a:pt x="131" y="134"/>
                  </a:cubicBezTo>
                  <a:cubicBezTo>
                    <a:pt x="124" y="133"/>
                    <a:pt x="116" y="132"/>
                    <a:pt x="108" y="132"/>
                  </a:cubicBezTo>
                  <a:cubicBezTo>
                    <a:pt x="94" y="132"/>
                    <a:pt x="83" y="135"/>
                    <a:pt x="75" y="140"/>
                  </a:cubicBezTo>
                  <a:cubicBezTo>
                    <a:pt x="67" y="146"/>
                    <a:pt x="63" y="153"/>
                    <a:pt x="63" y="164"/>
                  </a:cubicBezTo>
                  <a:lnTo>
                    <a:pt x="63" y="165"/>
                  </a:lnTo>
                  <a:cubicBezTo>
                    <a:pt x="63" y="174"/>
                    <a:pt x="66" y="180"/>
                    <a:pt x="73" y="185"/>
                  </a:cubicBezTo>
                  <a:cubicBezTo>
                    <a:pt x="80" y="190"/>
                    <a:pt x="88" y="193"/>
                    <a:pt x="99" y="193"/>
                  </a:cubicBezTo>
                  <a:close/>
                  <a:moveTo>
                    <a:pt x="79" y="238"/>
                  </a:moveTo>
                  <a:cubicBezTo>
                    <a:pt x="68" y="238"/>
                    <a:pt x="58" y="236"/>
                    <a:pt x="48" y="233"/>
                  </a:cubicBezTo>
                  <a:cubicBezTo>
                    <a:pt x="39" y="230"/>
                    <a:pt x="30" y="226"/>
                    <a:pt x="23" y="220"/>
                  </a:cubicBezTo>
                  <a:cubicBezTo>
                    <a:pt x="16" y="214"/>
                    <a:pt x="10" y="206"/>
                    <a:pt x="6" y="198"/>
                  </a:cubicBezTo>
                  <a:cubicBezTo>
                    <a:pt x="2" y="189"/>
                    <a:pt x="0" y="179"/>
                    <a:pt x="0" y="167"/>
                  </a:cubicBezTo>
                  <a:lnTo>
                    <a:pt x="0" y="166"/>
                  </a:lnTo>
                  <a:cubicBezTo>
                    <a:pt x="0" y="154"/>
                    <a:pt x="2" y="143"/>
                    <a:pt x="7" y="134"/>
                  </a:cubicBezTo>
                  <a:cubicBezTo>
                    <a:pt x="11" y="124"/>
                    <a:pt x="18" y="117"/>
                    <a:pt x="26" y="111"/>
                  </a:cubicBezTo>
                  <a:cubicBezTo>
                    <a:pt x="34" y="105"/>
                    <a:pt x="44" y="100"/>
                    <a:pt x="55" y="97"/>
                  </a:cubicBezTo>
                  <a:cubicBezTo>
                    <a:pt x="66" y="94"/>
                    <a:pt x="79" y="93"/>
                    <a:pt x="93" y="93"/>
                  </a:cubicBezTo>
                  <a:cubicBezTo>
                    <a:pt x="105" y="93"/>
                    <a:pt x="115" y="94"/>
                    <a:pt x="124" y="95"/>
                  </a:cubicBezTo>
                  <a:cubicBezTo>
                    <a:pt x="132" y="97"/>
                    <a:pt x="141" y="99"/>
                    <a:pt x="149" y="102"/>
                  </a:cubicBezTo>
                  <a:lnTo>
                    <a:pt x="149" y="98"/>
                  </a:lnTo>
                  <a:cubicBezTo>
                    <a:pt x="149" y="85"/>
                    <a:pt x="145" y="74"/>
                    <a:pt x="137" y="67"/>
                  </a:cubicBezTo>
                  <a:cubicBezTo>
                    <a:pt x="128" y="60"/>
                    <a:pt x="116" y="56"/>
                    <a:pt x="100" y="56"/>
                  </a:cubicBezTo>
                  <a:cubicBezTo>
                    <a:pt x="87" y="56"/>
                    <a:pt x="76" y="57"/>
                    <a:pt x="66" y="59"/>
                  </a:cubicBezTo>
                  <a:cubicBezTo>
                    <a:pt x="57" y="61"/>
                    <a:pt x="47" y="65"/>
                    <a:pt x="36" y="69"/>
                  </a:cubicBezTo>
                  <a:lnTo>
                    <a:pt x="20" y="19"/>
                  </a:lnTo>
                  <a:cubicBezTo>
                    <a:pt x="32" y="13"/>
                    <a:pt x="45" y="9"/>
                    <a:pt x="59" y="5"/>
                  </a:cubicBezTo>
                  <a:cubicBezTo>
                    <a:pt x="73" y="2"/>
                    <a:pt x="90" y="0"/>
                    <a:pt x="109" y="0"/>
                  </a:cubicBezTo>
                  <a:cubicBezTo>
                    <a:pt x="127" y="0"/>
                    <a:pt x="143" y="2"/>
                    <a:pt x="155" y="7"/>
                  </a:cubicBezTo>
                  <a:cubicBezTo>
                    <a:pt x="168" y="11"/>
                    <a:pt x="179" y="18"/>
                    <a:pt x="187" y="26"/>
                  </a:cubicBezTo>
                  <a:cubicBezTo>
                    <a:pt x="196" y="35"/>
                    <a:pt x="202" y="45"/>
                    <a:pt x="206" y="58"/>
                  </a:cubicBezTo>
                  <a:cubicBezTo>
                    <a:pt x="210" y="70"/>
                    <a:pt x="212" y="84"/>
                    <a:pt x="212" y="100"/>
                  </a:cubicBezTo>
                  <a:lnTo>
                    <a:pt x="212" y="234"/>
                  </a:lnTo>
                  <a:lnTo>
                    <a:pt x="149" y="234"/>
                  </a:lnTo>
                  <a:lnTo>
                    <a:pt x="149" y="209"/>
                  </a:lnTo>
                  <a:cubicBezTo>
                    <a:pt x="141" y="217"/>
                    <a:pt x="131" y="225"/>
                    <a:pt x="120" y="230"/>
                  </a:cubicBezTo>
                  <a:cubicBezTo>
                    <a:pt x="109" y="235"/>
                    <a:pt x="95" y="238"/>
                    <a:pt x="79" y="2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5D98101F-6B45-9564-DA9E-22B6E2B82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7" y="364"/>
              <a:ext cx="27" cy="30"/>
            </a:xfrm>
            <a:custGeom>
              <a:avLst/>
              <a:gdLst>
                <a:gd name="T0" fmla="*/ 0 w 211"/>
                <a:gd name="T1" fmla="*/ 5 h 236"/>
                <a:gd name="T2" fmla="*/ 65 w 211"/>
                <a:gd name="T3" fmla="*/ 5 h 236"/>
                <a:gd name="T4" fmla="*/ 65 w 211"/>
                <a:gd name="T5" fmla="*/ 38 h 236"/>
                <a:gd name="T6" fmla="*/ 77 w 211"/>
                <a:gd name="T7" fmla="*/ 24 h 236"/>
                <a:gd name="T8" fmla="*/ 92 w 211"/>
                <a:gd name="T9" fmla="*/ 12 h 236"/>
                <a:gd name="T10" fmla="*/ 110 w 211"/>
                <a:gd name="T11" fmla="*/ 3 h 236"/>
                <a:gd name="T12" fmla="*/ 133 w 211"/>
                <a:gd name="T13" fmla="*/ 0 h 236"/>
                <a:gd name="T14" fmla="*/ 191 w 211"/>
                <a:gd name="T15" fmla="*/ 23 h 236"/>
                <a:gd name="T16" fmla="*/ 211 w 211"/>
                <a:gd name="T17" fmla="*/ 86 h 236"/>
                <a:gd name="T18" fmla="*/ 211 w 211"/>
                <a:gd name="T19" fmla="*/ 236 h 236"/>
                <a:gd name="T20" fmla="*/ 146 w 211"/>
                <a:gd name="T21" fmla="*/ 236 h 236"/>
                <a:gd name="T22" fmla="*/ 146 w 211"/>
                <a:gd name="T23" fmla="*/ 107 h 236"/>
                <a:gd name="T24" fmla="*/ 135 w 211"/>
                <a:gd name="T25" fmla="*/ 72 h 236"/>
                <a:gd name="T26" fmla="*/ 106 w 211"/>
                <a:gd name="T27" fmla="*/ 60 h 236"/>
                <a:gd name="T28" fmla="*/ 76 w 211"/>
                <a:gd name="T29" fmla="*/ 72 h 236"/>
                <a:gd name="T30" fmla="*/ 65 w 211"/>
                <a:gd name="T31" fmla="*/ 107 h 236"/>
                <a:gd name="T32" fmla="*/ 65 w 211"/>
                <a:gd name="T33" fmla="*/ 236 h 236"/>
                <a:gd name="T34" fmla="*/ 0 w 211"/>
                <a:gd name="T35" fmla="*/ 236 h 236"/>
                <a:gd name="T36" fmla="*/ 0 w 211"/>
                <a:gd name="T37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1" h="236">
                  <a:moveTo>
                    <a:pt x="0" y="5"/>
                  </a:moveTo>
                  <a:lnTo>
                    <a:pt x="65" y="5"/>
                  </a:lnTo>
                  <a:lnTo>
                    <a:pt x="65" y="38"/>
                  </a:lnTo>
                  <a:cubicBezTo>
                    <a:pt x="69" y="33"/>
                    <a:pt x="73" y="28"/>
                    <a:pt x="77" y="24"/>
                  </a:cubicBezTo>
                  <a:cubicBezTo>
                    <a:pt x="82" y="19"/>
                    <a:pt x="87" y="15"/>
                    <a:pt x="92" y="12"/>
                  </a:cubicBezTo>
                  <a:cubicBezTo>
                    <a:pt x="98" y="8"/>
                    <a:pt x="104" y="5"/>
                    <a:pt x="110" y="3"/>
                  </a:cubicBezTo>
                  <a:cubicBezTo>
                    <a:pt x="117" y="1"/>
                    <a:pt x="124" y="0"/>
                    <a:pt x="133" y="0"/>
                  </a:cubicBezTo>
                  <a:cubicBezTo>
                    <a:pt x="158" y="0"/>
                    <a:pt x="177" y="8"/>
                    <a:pt x="191" y="23"/>
                  </a:cubicBezTo>
                  <a:cubicBezTo>
                    <a:pt x="204" y="38"/>
                    <a:pt x="211" y="59"/>
                    <a:pt x="211" y="86"/>
                  </a:cubicBezTo>
                  <a:lnTo>
                    <a:pt x="211" y="236"/>
                  </a:lnTo>
                  <a:lnTo>
                    <a:pt x="146" y="236"/>
                  </a:lnTo>
                  <a:lnTo>
                    <a:pt x="146" y="107"/>
                  </a:lnTo>
                  <a:cubicBezTo>
                    <a:pt x="146" y="92"/>
                    <a:pt x="142" y="80"/>
                    <a:pt x="135" y="72"/>
                  </a:cubicBezTo>
                  <a:cubicBezTo>
                    <a:pt x="128" y="64"/>
                    <a:pt x="119" y="60"/>
                    <a:pt x="106" y="60"/>
                  </a:cubicBezTo>
                  <a:cubicBezTo>
                    <a:pt x="93" y="60"/>
                    <a:pt x="83" y="64"/>
                    <a:pt x="76" y="72"/>
                  </a:cubicBezTo>
                  <a:cubicBezTo>
                    <a:pt x="69" y="80"/>
                    <a:pt x="65" y="92"/>
                    <a:pt x="65" y="107"/>
                  </a:cubicBezTo>
                  <a:lnTo>
                    <a:pt x="65" y="236"/>
                  </a:lnTo>
                  <a:lnTo>
                    <a:pt x="0" y="236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FC0BCDFB-EFEC-7B3E-CD84-10628D957F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5" y="354"/>
              <a:ext cx="30" cy="41"/>
            </a:xfrm>
            <a:custGeom>
              <a:avLst/>
              <a:gdLst>
                <a:gd name="T0" fmla="*/ 122 w 242"/>
                <a:gd name="T1" fmla="*/ 263 h 319"/>
                <a:gd name="T2" fmla="*/ 144 w 242"/>
                <a:gd name="T3" fmla="*/ 259 h 319"/>
                <a:gd name="T4" fmla="*/ 161 w 242"/>
                <a:gd name="T5" fmla="*/ 246 h 319"/>
                <a:gd name="T6" fmla="*/ 173 w 242"/>
                <a:gd name="T7" fmla="*/ 226 h 319"/>
                <a:gd name="T8" fmla="*/ 178 w 242"/>
                <a:gd name="T9" fmla="*/ 200 h 319"/>
                <a:gd name="T10" fmla="*/ 178 w 242"/>
                <a:gd name="T11" fmla="*/ 199 h 319"/>
                <a:gd name="T12" fmla="*/ 173 w 242"/>
                <a:gd name="T13" fmla="*/ 173 h 319"/>
                <a:gd name="T14" fmla="*/ 161 w 242"/>
                <a:gd name="T15" fmla="*/ 152 h 319"/>
                <a:gd name="T16" fmla="*/ 144 w 242"/>
                <a:gd name="T17" fmla="*/ 139 h 319"/>
                <a:gd name="T18" fmla="*/ 122 w 242"/>
                <a:gd name="T19" fmla="*/ 135 h 319"/>
                <a:gd name="T20" fmla="*/ 100 w 242"/>
                <a:gd name="T21" fmla="*/ 139 h 319"/>
                <a:gd name="T22" fmla="*/ 82 w 242"/>
                <a:gd name="T23" fmla="*/ 152 h 319"/>
                <a:gd name="T24" fmla="*/ 70 w 242"/>
                <a:gd name="T25" fmla="*/ 172 h 319"/>
                <a:gd name="T26" fmla="*/ 65 w 242"/>
                <a:gd name="T27" fmla="*/ 199 h 319"/>
                <a:gd name="T28" fmla="*/ 65 w 242"/>
                <a:gd name="T29" fmla="*/ 200 h 319"/>
                <a:gd name="T30" fmla="*/ 70 w 242"/>
                <a:gd name="T31" fmla="*/ 226 h 319"/>
                <a:gd name="T32" fmla="*/ 82 w 242"/>
                <a:gd name="T33" fmla="*/ 246 h 319"/>
                <a:gd name="T34" fmla="*/ 100 w 242"/>
                <a:gd name="T35" fmla="*/ 259 h 319"/>
                <a:gd name="T36" fmla="*/ 122 w 242"/>
                <a:gd name="T37" fmla="*/ 263 h 319"/>
                <a:gd name="T38" fmla="*/ 105 w 242"/>
                <a:gd name="T39" fmla="*/ 319 h 319"/>
                <a:gd name="T40" fmla="*/ 66 w 242"/>
                <a:gd name="T41" fmla="*/ 311 h 319"/>
                <a:gd name="T42" fmla="*/ 32 w 242"/>
                <a:gd name="T43" fmla="*/ 288 h 319"/>
                <a:gd name="T44" fmla="*/ 9 w 242"/>
                <a:gd name="T45" fmla="*/ 251 h 319"/>
                <a:gd name="T46" fmla="*/ 0 w 242"/>
                <a:gd name="T47" fmla="*/ 200 h 319"/>
                <a:gd name="T48" fmla="*/ 0 w 242"/>
                <a:gd name="T49" fmla="*/ 199 h 319"/>
                <a:gd name="T50" fmla="*/ 9 w 242"/>
                <a:gd name="T51" fmla="*/ 148 h 319"/>
                <a:gd name="T52" fmla="*/ 32 w 242"/>
                <a:gd name="T53" fmla="*/ 110 h 319"/>
                <a:gd name="T54" fmla="*/ 65 w 242"/>
                <a:gd name="T55" fmla="*/ 87 h 319"/>
                <a:gd name="T56" fmla="*/ 105 w 242"/>
                <a:gd name="T57" fmla="*/ 79 h 319"/>
                <a:gd name="T58" fmla="*/ 148 w 242"/>
                <a:gd name="T59" fmla="*/ 90 h 319"/>
                <a:gd name="T60" fmla="*/ 177 w 242"/>
                <a:gd name="T61" fmla="*/ 114 h 319"/>
                <a:gd name="T62" fmla="*/ 177 w 242"/>
                <a:gd name="T63" fmla="*/ 0 h 319"/>
                <a:gd name="T64" fmla="*/ 242 w 242"/>
                <a:gd name="T65" fmla="*/ 0 h 319"/>
                <a:gd name="T66" fmla="*/ 242 w 242"/>
                <a:gd name="T67" fmla="*/ 315 h 319"/>
                <a:gd name="T68" fmla="*/ 177 w 242"/>
                <a:gd name="T69" fmla="*/ 315 h 319"/>
                <a:gd name="T70" fmla="*/ 177 w 242"/>
                <a:gd name="T71" fmla="*/ 281 h 319"/>
                <a:gd name="T72" fmla="*/ 148 w 242"/>
                <a:gd name="T73" fmla="*/ 308 h 319"/>
                <a:gd name="T74" fmla="*/ 105 w 242"/>
                <a:gd name="T75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2" h="319">
                  <a:moveTo>
                    <a:pt x="122" y="263"/>
                  </a:moveTo>
                  <a:cubicBezTo>
                    <a:pt x="130" y="263"/>
                    <a:pt x="137" y="262"/>
                    <a:pt x="144" y="259"/>
                  </a:cubicBezTo>
                  <a:cubicBezTo>
                    <a:pt x="150" y="256"/>
                    <a:pt x="156" y="251"/>
                    <a:pt x="161" y="246"/>
                  </a:cubicBezTo>
                  <a:cubicBezTo>
                    <a:pt x="166" y="240"/>
                    <a:pt x="170" y="234"/>
                    <a:pt x="173" y="226"/>
                  </a:cubicBezTo>
                  <a:cubicBezTo>
                    <a:pt x="176" y="218"/>
                    <a:pt x="178" y="209"/>
                    <a:pt x="178" y="200"/>
                  </a:cubicBezTo>
                  <a:lnTo>
                    <a:pt x="178" y="199"/>
                  </a:lnTo>
                  <a:cubicBezTo>
                    <a:pt x="178" y="189"/>
                    <a:pt x="176" y="181"/>
                    <a:pt x="173" y="173"/>
                  </a:cubicBezTo>
                  <a:cubicBezTo>
                    <a:pt x="170" y="165"/>
                    <a:pt x="166" y="158"/>
                    <a:pt x="161" y="152"/>
                  </a:cubicBezTo>
                  <a:cubicBezTo>
                    <a:pt x="156" y="147"/>
                    <a:pt x="150" y="142"/>
                    <a:pt x="144" y="139"/>
                  </a:cubicBezTo>
                  <a:cubicBezTo>
                    <a:pt x="137" y="136"/>
                    <a:pt x="130" y="135"/>
                    <a:pt x="122" y="135"/>
                  </a:cubicBezTo>
                  <a:cubicBezTo>
                    <a:pt x="114" y="135"/>
                    <a:pt x="107" y="136"/>
                    <a:pt x="100" y="139"/>
                  </a:cubicBezTo>
                  <a:cubicBezTo>
                    <a:pt x="93" y="142"/>
                    <a:pt x="87" y="147"/>
                    <a:pt x="82" y="152"/>
                  </a:cubicBezTo>
                  <a:cubicBezTo>
                    <a:pt x="77" y="158"/>
                    <a:pt x="73" y="165"/>
                    <a:pt x="70" y="172"/>
                  </a:cubicBezTo>
                  <a:cubicBezTo>
                    <a:pt x="67" y="180"/>
                    <a:pt x="65" y="189"/>
                    <a:pt x="65" y="199"/>
                  </a:cubicBezTo>
                  <a:lnTo>
                    <a:pt x="65" y="200"/>
                  </a:lnTo>
                  <a:cubicBezTo>
                    <a:pt x="65" y="209"/>
                    <a:pt x="67" y="218"/>
                    <a:pt x="70" y="226"/>
                  </a:cubicBezTo>
                  <a:cubicBezTo>
                    <a:pt x="73" y="234"/>
                    <a:pt x="77" y="240"/>
                    <a:pt x="82" y="246"/>
                  </a:cubicBezTo>
                  <a:cubicBezTo>
                    <a:pt x="87" y="251"/>
                    <a:pt x="93" y="256"/>
                    <a:pt x="100" y="259"/>
                  </a:cubicBezTo>
                  <a:cubicBezTo>
                    <a:pt x="107" y="262"/>
                    <a:pt x="114" y="263"/>
                    <a:pt x="122" y="263"/>
                  </a:cubicBezTo>
                  <a:close/>
                  <a:moveTo>
                    <a:pt x="105" y="319"/>
                  </a:moveTo>
                  <a:cubicBezTo>
                    <a:pt x="91" y="319"/>
                    <a:pt x="78" y="316"/>
                    <a:pt x="66" y="311"/>
                  </a:cubicBezTo>
                  <a:cubicBezTo>
                    <a:pt x="53" y="306"/>
                    <a:pt x="42" y="298"/>
                    <a:pt x="32" y="288"/>
                  </a:cubicBezTo>
                  <a:cubicBezTo>
                    <a:pt x="22" y="278"/>
                    <a:pt x="15" y="265"/>
                    <a:pt x="9" y="251"/>
                  </a:cubicBezTo>
                  <a:cubicBezTo>
                    <a:pt x="3" y="236"/>
                    <a:pt x="0" y="219"/>
                    <a:pt x="0" y="200"/>
                  </a:cubicBezTo>
                  <a:lnTo>
                    <a:pt x="0" y="199"/>
                  </a:lnTo>
                  <a:cubicBezTo>
                    <a:pt x="0" y="179"/>
                    <a:pt x="3" y="162"/>
                    <a:pt x="9" y="148"/>
                  </a:cubicBezTo>
                  <a:cubicBezTo>
                    <a:pt x="15" y="133"/>
                    <a:pt x="22" y="120"/>
                    <a:pt x="32" y="110"/>
                  </a:cubicBezTo>
                  <a:cubicBezTo>
                    <a:pt x="42" y="100"/>
                    <a:pt x="53" y="92"/>
                    <a:pt x="65" y="87"/>
                  </a:cubicBezTo>
                  <a:cubicBezTo>
                    <a:pt x="78" y="82"/>
                    <a:pt x="91" y="79"/>
                    <a:pt x="105" y="79"/>
                  </a:cubicBezTo>
                  <a:cubicBezTo>
                    <a:pt x="122" y="79"/>
                    <a:pt x="137" y="83"/>
                    <a:pt x="148" y="90"/>
                  </a:cubicBezTo>
                  <a:cubicBezTo>
                    <a:pt x="160" y="97"/>
                    <a:pt x="169" y="105"/>
                    <a:pt x="177" y="114"/>
                  </a:cubicBezTo>
                  <a:lnTo>
                    <a:pt x="177" y="0"/>
                  </a:lnTo>
                  <a:lnTo>
                    <a:pt x="242" y="0"/>
                  </a:lnTo>
                  <a:lnTo>
                    <a:pt x="242" y="315"/>
                  </a:lnTo>
                  <a:lnTo>
                    <a:pt x="177" y="315"/>
                  </a:lnTo>
                  <a:lnTo>
                    <a:pt x="177" y="281"/>
                  </a:lnTo>
                  <a:cubicBezTo>
                    <a:pt x="169" y="292"/>
                    <a:pt x="159" y="301"/>
                    <a:pt x="148" y="308"/>
                  </a:cubicBezTo>
                  <a:cubicBezTo>
                    <a:pt x="136" y="315"/>
                    <a:pt x="122" y="319"/>
                    <a:pt x="105" y="319"/>
                  </a:cubicBez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C2E3AE31-4557-CF4C-12C4-83D41D0B8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1" y="364"/>
              <a:ext cx="28" cy="31"/>
            </a:xfrm>
            <a:custGeom>
              <a:avLst/>
              <a:gdLst>
                <a:gd name="T0" fmla="*/ 163 w 226"/>
                <a:gd name="T1" fmla="*/ 102 h 241"/>
                <a:gd name="T2" fmla="*/ 147 w 226"/>
                <a:gd name="T3" fmla="*/ 66 h 241"/>
                <a:gd name="T4" fmla="*/ 114 w 226"/>
                <a:gd name="T5" fmla="*/ 53 h 241"/>
                <a:gd name="T6" fmla="*/ 81 w 226"/>
                <a:gd name="T7" fmla="*/ 66 h 241"/>
                <a:gd name="T8" fmla="*/ 64 w 226"/>
                <a:gd name="T9" fmla="*/ 102 h 241"/>
                <a:gd name="T10" fmla="*/ 163 w 226"/>
                <a:gd name="T11" fmla="*/ 102 h 241"/>
                <a:gd name="T12" fmla="*/ 120 w 226"/>
                <a:gd name="T13" fmla="*/ 241 h 241"/>
                <a:gd name="T14" fmla="*/ 72 w 226"/>
                <a:gd name="T15" fmla="*/ 232 h 241"/>
                <a:gd name="T16" fmla="*/ 34 w 226"/>
                <a:gd name="T17" fmla="*/ 208 h 241"/>
                <a:gd name="T18" fmla="*/ 9 w 226"/>
                <a:gd name="T19" fmla="*/ 170 h 241"/>
                <a:gd name="T20" fmla="*/ 0 w 226"/>
                <a:gd name="T21" fmla="*/ 121 h 241"/>
                <a:gd name="T22" fmla="*/ 0 w 226"/>
                <a:gd name="T23" fmla="*/ 121 h 241"/>
                <a:gd name="T24" fmla="*/ 8 w 226"/>
                <a:gd name="T25" fmla="*/ 74 h 241"/>
                <a:gd name="T26" fmla="*/ 32 w 226"/>
                <a:gd name="T27" fmla="*/ 36 h 241"/>
                <a:gd name="T28" fmla="*/ 68 w 226"/>
                <a:gd name="T29" fmla="*/ 10 h 241"/>
                <a:gd name="T30" fmla="*/ 114 w 226"/>
                <a:gd name="T31" fmla="*/ 0 h 241"/>
                <a:gd name="T32" fmla="*/ 164 w 226"/>
                <a:gd name="T33" fmla="*/ 11 h 241"/>
                <a:gd name="T34" fmla="*/ 199 w 226"/>
                <a:gd name="T35" fmla="*/ 38 h 241"/>
                <a:gd name="T36" fmla="*/ 220 w 226"/>
                <a:gd name="T37" fmla="*/ 79 h 241"/>
                <a:gd name="T38" fmla="*/ 226 w 226"/>
                <a:gd name="T39" fmla="*/ 126 h 241"/>
                <a:gd name="T40" fmla="*/ 226 w 226"/>
                <a:gd name="T41" fmla="*/ 134 h 241"/>
                <a:gd name="T42" fmla="*/ 226 w 226"/>
                <a:gd name="T43" fmla="*/ 143 h 241"/>
                <a:gd name="T44" fmla="*/ 65 w 226"/>
                <a:gd name="T45" fmla="*/ 143 h 241"/>
                <a:gd name="T46" fmla="*/ 84 w 226"/>
                <a:gd name="T47" fmla="*/ 177 h 241"/>
                <a:gd name="T48" fmla="*/ 121 w 226"/>
                <a:gd name="T49" fmla="*/ 188 h 241"/>
                <a:gd name="T50" fmla="*/ 151 w 226"/>
                <a:gd name="T51" fmla="*/ 183 h 241"/>
                <a:gd name="T52" fmla="*/ 177 w 226"/>
                <a:gd name="T53" fmla="*/ 164 h 241"/>
                <a:gd name="T54" fmla="*/ 215 w 226"/>
                <a:gd name="T55" fmla="*/ 198 h 241"/>
                <a:gd name="T56" fmla="*/ 175 w 226"/>
                <a:gd name="T57" fmla="*/ 229 h 241"/>
                <a:gd name="T58" fmla="*/ 120 w 226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6" h="241">
                  <a:moveTo>
                    <a:pt x="163" y="102"/>
                  </a:moveTo>
                  <a:cubicBezTo>
                    <a:pt x="161" y="87"/>
                    <a:pt x="155" y="76"/>
                    <a:pt x="147" y="66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0" y="53"/>
                    <a:pt x="89" y="57"/>
                    <a:pt x="81" y="66"/>
                  </a:cubicBezTo>
                  <a:cubicBezTo>
                    <a:pt x="72" y="75"/>
                    <a:pt x="67" y="87"/>
                    <a:pt x="64" y="102"/>
                  </a:cubicBezTo>
                  <a:lnTo>
                    <a:pt x="163" y="102"/>
                  </a:lnTo>
                  <a:close/>
                  <a:moveTo>
                    <a:pt x="120" y="241"/>
                  </a:moveTo>
                  <a:cubicBezTo>
                    <a:pt x="103" y="241"/>
                    <a:pt x="87" y="238"/>
                    <a:pt x="72" y="232"/>
                  </a:cubicBezTo>
                  <a:cubicBezTo>
                    <a:pt x="58" y="226"/>
                    <a:pt x="45" y="218"/>
                    <a:pt x="34" y="208"/>
                  </a:cubicBezTo>
                  <a:cubicBezTo>
                    <a:pt x="23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8" y="74"/>
                  </a:cubicBezTo>
                  <a:cubicBezTo>
                    <a:pt x="14" y="59"/>
                    <a:pt x="22" y="47"/>
                    <a:pt x="32" y="36"/>
                  </a:cubicBezTo>
                  <a:cubicBezTo>
                    <a:pt x="42" y="25"/>
                    <a:pt x="54" y="16"/>
                    <a:pt x="68" y="10"/>
                  </a:cubicBezTo>
                  <a:cubicBezTo>
                    <a:pt x="82" y="4"/>
                    <a:pt x="97" y="0"/>
                    <a:pt x="114" y="0"/>
                  </a:cubicBezTo>
                  <a:cubicBezTo>
                    <a:pt x="133" y="0"/>
                    <a:pt x="150" y="4"/>
                    <a:pt x="164" y="11"/>
                  </a:cubicBezTo>
                  <a:cubicBezTo>
                    <a:pt x="178" y="18"/>
                    <a:pt x="190" y="27"/>
                    <a:pt x="199" y="38"/>
                  </a:cubicBezTo>
                  <a:cubicBezTo>
                    <a:pt x="208" y="50"/>
                    <a:pt x="215" y="63"/>
                    <a:pt x="220" y="79"/>
                  </a:cubicBezTo>
                  <a:cubicBezTo>
                    <a:pt x="224" y="94"/>
                    <a:pt x="226" y="109"/>
                    <a:pt x="226" y="126"/>
                  </a:cubicBezTo>
                  <a:cubicBezTo>
                    <a:pt x="226" y="128"/>
                    <a:pt x="226" y="131"/>
                    <a:pt x="226" y="134"/>
                  </a:cubicBezTo>
                  <a:cubicBezTo>
                    <a:pt x="226" y="137"/>
                    <a:pt x="226" y="140"/>
                    <a:pt x="226" y="143"/>
                  </a:cubicBezTo>
                  <a:lnTo>
                    <a:pt x="65" y="143"/>
                  </a:lnTo>
                  <a:cubicBezTo>
                    <a:pt x="68" y="158"/>
                    <a:pt x="75" y="169"/>
                    <a:pt x="84" y="177"/>
                  </a:cubicBezTo>
                  <a:cubicBezTo>
                    <a:pt x="94" y="184"/>
                    <a:pt x="107" y="188"/>
                    <a:pt x="121" y="188"/>
                  </a:cubicBezTo>
                  <a:cubicBezTo>
                    <a:pt x="132" y="188"/>
                    <a:pt x="142" y="186"/>
                    <a:pt x="151" y="183"/>
                  </a:cubicBezTo>
                  <a:cubicBezTo>
                    <a:pt x="159" y="179"/>
                    <a:pt x="168" y="173"/>
                    <a:pt x="177" y="164"/>
                  </a:cubicBezTo>
                  <a:lnTo>
                    <a:pt x="215" y="198"/>
                  </a:lnTo>
                  <a:cubicBezTo>
                    <a:pt x="204" y="211"/>
                    <a:pt x="191" y="222"/>
                    <a:pt x="175" y="229"/>
                  </a:cubicBezTo>
                  <a:cubicBezTo>
                    <a:pt x="160" y="237"/>
                    <a:pt x="141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2C049B61-42F7-A6DC-365C-728D332647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" y="356"/>
              <a:ext cx="33" cy="38"/>
            </a:xfrm>
            <a:custGeom>
              <a:avLst/>
              <a:gdLst>
                <a:gd name="T0" fmla="*/ 134 w 261"/>
                <a:gd name="T1" fmla="*/ 146 h 302"/>
                <a:gd name="T2" fmla="*/ 171 w 261"/>
                <a:gd name="T3" fmla="*/ 135 h 302"/>
                <a:gd name="T4" fmla="*/ 185 w 261"/>
                <a:gd name="T5" fmla="*/ 104 h 302"/>
                <a:gd name="T6" fmla="*/ 185 w 261"/>
                <a:gd name="T7" fmla="*/ 103 h 302"/>
                <a:gd name="T8" fmla="*/ 171 w 261"/>
                <a:gd name="T9" fmla="*/ 71 h 302"/>
                <a:gd name="T10" fmla="*/ 132 w 261"/>
                <a:gd name="T11" fmla="*/ 60 h 302"/>
                <a:gd name="T12" fmla="*/ 67 w 261"/>
                <a:gd name="T13" fmla="*/ 60 h 302"/>
                <a:gd name="T14" fmla="*/ 67 w 261"/>
                <a:gd name="T15" fmla="*/ 146 h 302"/>
                <a:gd name="T16" fmla="*/ 134 w 261"/>
                <a:gd name="T17" fmla="*/ 146 h 302"/>
                <a:gd name="T18" fmla="*/ 0 w 261"/>
                <a:gd name="T19" fmla="*/ 0 h 302"/>
                <a:gd name="T20" fmla="*/ 138 w 261"/>
                <a:gd name="T21" fmla="*/ 0 h 302"/>
                <a:gd name="T22" fmla="*/ 226 w 261"/>
                <a:gd name="T23" fmla="*/ 31 h 302"/>
                <a:gd name="T24" fmla="*/ 252 w 261"/>
                <a:gd name="T25" fmla="*/ 100 h 302"/>
                <a:gd name="T26" fmla="*/ 252 w 261"/>
                <a:gd name="T27" fmla="*/ 100 h 302"/>
                <a:gd name="T28" fmla="*/ 234 w 261"/>
                <a:gd name="T29" fmla="*/ 160 h 302"/>
                <a:gd name="T30" fmla="*/ 187 w 261"/>
                <a:gd name="T31" fmla="*/ 194 h 302"/>
                <a:gd name="T32" fmla="*/ 261 w 261"/>
                <a:gd name="T33" fmla="*/ 302 h 302"/>
                <a:gd name="T34" fmla="*/ 183 w 261"/>
                <a:gd name="T35" fmla="*/ 302 h 302"/>
                <a:gd name="T36" fmla="*/ 119 w 261"/>
                <a:gd name="T37" fmla="*/ 205 h 302"/>
                <a:gd name="T38" fmla="*/ 118 w 261"/>
                <a:gd name="T39" fmla="*/ 205 h 302"/>
                <a:gd name="T40" fmla="*/ 67 w 261"/>
                <a:gd name="T41" fmla="*/ 205 h 302"/>
                <a:gd name="T42" fmla="*/ 67 w 261"/>
                <a:gd name="T43" fmla="*/ 302 h 302"/>
                <a:gd name="T44" fmla="*/ 0 w 261"/>
                <a:gd name="T45" fmla="*/ 302 h 302"/>
                <a:gd name="T46" fmla="*/ 0 w 261"/>
                <a:gd name="T4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1" h="302">
                  <a:moveTo>
                    <a:pt x="134" y="146"/>
                  </a:moveTo>
                  <a:cubicBezTo>
                    <a:pt x="150" y="146"/>
                    <a:pt x="163" y="143"/>
                    <a:pt x="171" y="135"/>
                  </a:cubicBezTo>
                  <a:cubicBezTo>
                    <a:pt x="180" y="127"/>
                    <a:pt x="185" y="117"/>
                    <a:pt x="185" y="104"/>
                  </a:cubicBezTo>
                  <a:lnTo>
                    <a:pt x="185" y="103"/>
                  </a:lnTo>
                  <a:cubicBezTo>
                    <a:pt x="185" y="89"/>
                    <a:pt x="180" y="78"/>
                    <a:pt x="171" y="71"/>
                  </a:cubicBezTo>
                  <a:cubicBezTo>
                    <a:pt x="162" y="63"/>
                    <a:pt x="149" y="60"/>
                    <a:pt x="132" y="60"/>
                  </a:cubicBezTo>
                  <a:lnTo>
                    <a:pt x="67" y="60"/>
                  </a:lnTo>
                  <a:lnTo>
                    <a:pt x="67" y="146"/>
                  </a:lnTo>
                  <a:lnTo>
                    <a:pt x="134" y="146"/>
                  </a:lnTo>
                  <a:close/>
                  <a:moveTo>
                    <a:pt x="0" y="0"/>
                  </a:moveTo>
                  <a:lnTo>
                    <a:pt x="138" y="0"/>
                  </a:lnTo>
                  <a:cubicBezTo>
                    <a:pt x="176" y="0"/>
                    <a:pt x="206" y="10"/>
                    <a:pt x="226" y="31"/>
                  </a:cubicBezTo>
                  <a:cubicBezTo>
                    <a:pt x="243" y="48"/>
                    <a:pt x="252" y="71"/>
                    <a:pt x="252" y="100"/>
                  </a:cubicBezTo>
                  <a:lnTo>
                    <a:pt x="252" y="100"/>
                  </a:lnTo>
                  <a:cubicBezTo>
                    <a:pt x="252" y="125"/>
                    <a:pt x="246" y="145"/>
                    <a:pt x="234" y="160"/>
                  </a:cubicBezTo>
                  <a:cubicBezTo>
                    <a:pt x="222" y="175"/>
                    <a:pt x="206" y="187"/>
                    <a:pt x="187" y="194"/>
                  </a:cubicBezTo>
                  <a:lnTo>
                    <a:pt x="261" y="302"/>
                  </a:lnTo>
                  <a:lnTo>
                    <a:pt x="183" y="302"/>
                  </a:lnTo>
                  <a:lnTo>
                    <a:pt x="119" y="205"/>
                  </a:lnTo>
                  <a:lnTo>
                    <a:pt x="118" y="205"/>
                  </a:lnTo>
                  <a:lnTo>
                    <a:pt x="67" y="205"/>
                  </a:lnTo>
                  <a:lnTo>
                    <a:pt x="67" y="302"/>
                  </a:lnTo>
                  <a:lnTo>
                    <a:pt x="0" y="302"/>
                  </a:lnTo>
                  <a:lnTo>
                    <a:pt x="0" y="0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97E79A3B-44FB-A9BB-5BE1-2AB8609DE0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9" y="364"/>
              <a:ext cx="28" cy="31"/>
            </a:xfrm>
            <a:custGeom>
              <a:avLst/>
              <a:gdLst>
                <a:gd name="T0" fmla="*/ 162 w 226"/>
                <a:gd name="T1" fmla="*/ 102 h 241"/>
                <a:gd name="T2" fmla="*/ 147 w 226"/>
                <a:gd name="T3" fmla="*/ 66 h 241"/>
                <a:gd name="T4" fmla="*/ 114 w 226"/>
                <a:gd name="T5" fmla="*/ 53 h 241"/>
                <a:gd name="T6" fmla="*/ 80 w 226"/>
                <a:gd name="T7" fmla="*/ 66 h 241"/>
                <a:gd name="T8" fmla="*/ 64 w 226"/>
                <a:gd name="T9" fmla="*/ 102 h 241"/>
                <a:gd name="T10" fmla="*/ 162 w 226"/>
                <a:gd name="T11" fmla="*/ 102 h 241"/>
                <a:gd name="T12" fmla="*/ 120 w 226"/>
                <a:gd name="T13" fmla="*/ 241 h 241"/>
                <a:gd name="T14" fmla="*/ 72 w 226"/>
                <a:gd name="T15" fmla="*/ 232 h 241"/>
                <a:gd name="T16" fmla="*/ 34 w 226"/>
                <a:gd name="T17" fmla="*/ 208 h 241"/>
                <a:gd name="T18" fmla="*/ 9 w 226"/>
                <a:gd name="T19" fmla="*/ 170 h 241"/>
                <a:gd name="T20" fmla="*/ 0 w 226"/>
                <a:gd name="T21" fmla="*/ 121 h 241"/>
                <a:gd name="T22" fmla="*/ 0 w 226"/>
                <a:gd name="T23" fmla="*/ 121 h 241"/>
                <a:gd name="T24" fmla="*/ 8 w 226"/>
                <a:gd name="T25" fmla="*/ 74 h 241"/>
                <a:gd name="T26" fmla="*/ 31 w 226"/>
                <a:gd name="T27" fmla="*/ 36 h 241"/>
                <a:gd name="T28" fmla="*/ 67 w 226"/>
                <a:gd name="T29" fmla="*/ 10 h 241"/>
                <a:gd name="T30" fmla="*/ 114 w 226"/>
                <a:gd name="T31" fmla="*/ 0 h 241"/>
                <a:gd name="T32" fmla="*/ 164 w 226"/>
                <a:gd name="T33" fmla="*/ 11 h 241"/>
                <a:gd name="T34" fmla="*/ 199 w 226"/>
                <a:gd name="T35" fmla="*/ 38 h 241"/>
                <a:gd name="T36" fmla="*/ 220 w 226"/>
                <a:gd name="T37" fmla="*/ 79 h 241"/>
                <a:gd name="T38" fmla="*/ 226 w 226"/>
                <a:gd name="T39" fmla="*/ 126 h 241"/>
                <a:gd name="T40" fmla="*/ 226 w 226"/>
                <a:gd name="T41" fmla="*/ 134 h 241"/>
                <a:gd name="T42" fmla="*/ 225 w 226"/>
                <a:gd name="T43" fmla="*/ 143 h 241"/>
                <a:gd name="T44" fmla="*/ 65 w 226"/>
                <a:gd name="T45" fmla="*/ 143 h 241"/>
                <a:gd name="T46" fmla="*/ 84 w 226"/>
                <a:gd name="T47" fmla="*/ 177 h 241"/>
                <a:gd name="T48" fmla="*/ 121 w 226"/>
                <a:gd name="T49" fmla="*/ 188 h 241"/>
                <a:gd name="T50" fmla="*/ 150 w 226"/>
                <a:gd name="T51" fmla="*/ 183 h 241"/>
                <a:gd name="T52" fmla="*/ 177 w 226"/>
                <a:gd name="T53" fmla="*/ 164 h 241"/>
                <a:gd name="T54" fmla="*/ 215 w 226"/>
                <a:gd name="T55" fmla="*/ 198 h 241"/>
                <a:gd name="T56" fmla="*/ 175 w 226"/>
                <a:gd name="T57" fmla="*/ 229 h 241"/>
                <a:gd name="T58" fmla="*/ 120 w 226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6" h="241">
                  <a:moveTo>
                    <a:pt x="162" y="102"/>
                  </a:moveTo>
                  <a:cubicBezTo>
                    <a:pt x="160" y="87"/>
                    <a:pt x="155" y="76"/>
                    <a:pt x="147" y="66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0" y="53"/>
                    <a:pt x="89" y="57"/>
                    <a:pt x="80" y="66"/>
                  </a:cubicBezTo>
                  <a:cubicBezTo>
                    <a:pt x="72" y="75"/>
                    <a:pt x="66" y="87"/>
                    <a:pt x="64" y="102"/>
                  </a:cubicBezTo>
                  <a:lnTo>
                    <a:pt x="162" y="102"/>
                  </a:lnTo>
                  <a:close/>
                  <a:moveTo>
                    <a:pt x="120" y="241"/>
                  </a:moveTo>
                  <a:cubicBezTo>
                    <a:pt x="103" y="241"/>
                    <a:pt x="87" y="238"/>
                    <a:pt x="72" y="232"/>
                  </a:cubicBezTo>
                  <a:cubicBezTo>
                    <a:pt x="57" y="226"/>
                    <a:pt x="45" y="218"/>
                    <a:pt x="34" y="208"/>
                  </a:cubicBezTo>
                  <a:cubicBezTo>
                    <a:pt x="23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2" y="89"/>
                    <a:pt x="8" y="74"/>
                  </a:cubicBezTo>
                  <a:cubicBezTo>
                    <a:pt x="14" y="59"/>
                    <a:pt x="21" y="47"/>
                    <a:pt x="31" y="36"/>
                  </a:cubicBezTo>
                  <a:cubicBezTo>
                    <a:pt x="42" y="25"/>
                    <a:pt x="54" y="16"/>
                    <a:pt x="67" y="10"/>
                  </a:cubicBezTo>
                  <a:cubicBezTo>
                    <a:pt x="81" y="4"/>
                    <a:pt x="97" y="0"/>
                    <a:pt x="114" y="0"/>
                  </a:cubicBezTo>
                  <a:cubicBezTo>
                    <a:pt x="133" y="0"/>
                    <a:pt x="150" y="4"/>
                    <a:pt x="164" y="11"/>
                  </a:cubicBezTo>
                  <a:cubicBezTo>
                    <a:pt x="178" y="18"/>
                    <a:pt x="190" y="27"/>
                    <a:pt x="199" y="38"/>
                  </a:cubicBezTo>
                  <a:cubicBezTo>
                    <a:pt x="208" y="50"/>
                    <a:pt x="215" y="63"/>
                    <a:pt x="220" y="79"/>
                  </a:cubicBezTo>
                  <a:cubicBezTo>
                    <a:pt x="224" y="94"/>
                    <a:pt x="226" y="109"/>
                    <a:pt x="226" y="126"/>
                  </a:cubicBezTo>
                  <a:cubicBezTo>
                    <a:pt x="226" y="128"/>
                    <a:pt x="226" y="131"/>
                    <a:pt x="226" y="134"/>
                  </a:cubicBezTo>
                  <a:cubicBezTo>
                    <a:pt x="226" y="137"/>
                    <a:pt x="226" y="140"/>
                    <a:pt x="225" y="143"/>
                  </a:cubicBezTo>
                  <a:lnTo>
                    <a:pt x="65" y="143"/>
                  </a:lnTo>
                  <a:cubicBezTo>
                    <a:pt x="68" y="158"/>
                    <a:pt x="74" y="169"/>
                    <a:pt x="84" y="177"/>
                  </a:cubicBezTo>
                  <a:cubicBezTo>
                    <a:pt x="94" y="184"/>
                    <a:pt x="106" y="188"/>
                    <a:pt x="121" y="188"/>
                  </a:cubicBezTo>
                  <a:cubicBezTo>
                    <a:pt x="132" y="188"/>
                    <a:pt x="142" y="186"/>
                    <a:pt x="150" y="183"/>
                  </a:cubicBezTo>
                  <a:cubicBezTo>
                    <a:pt x="159" y="179"/>
                    <a:pt x="168" y="173"/>
                    <a:pt x="177" y="164"/>
                  </a:cubicBezTo>
                  <a:lnTo>
                    <a:pt x="215" y="198"/>
                  </a:lnTo>
                  <a:cubicBezTo>
                    <a:pt x="204" y="211"/>
                    <a:pt x="190" y="222"/>
                    <a:pt x="175" y="229"/>
                  </a:cubicBezTo>
                  <a:cubicBezTo>
                    <a:pt x="159" y="237"/>
                    <a:pt x="141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96174761-8F6D-329E-AD2C-733773B4E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1" y="364"/>
              <a:ext cx="27" cy="31"/>
            </a:xfrm>
            <a:custGeom>
              <a:avLst/>
              <a:gdLst>
                <a:gd name="T0" fmla="*/ 120 w 214"/>
                <a:gd name="T1" fmla="*/ 241 h 241"/>
                <a:gd name="T2" fmla="*/ 72 w 214"/>
                <a:gd name="T3" fmla="*/ 231 h 241"/>
                <a:gd name="T4" fmla="*/ 34 w 214"/>
                <a:gd name="T5" fmla="*/ 206 h 241"/>
                <a:gd name="T6" fmla="*/ 9 w 214"/>
                <a:gd name="T7" fmla="*/ 168 h 241"/>
                <a:gd name="T8" fmla="*/ 0 w 214"/>
                <a:gd name="T9" fmla="*/ 121 h 241"/>
                <a:gd name="T10" fmla="*/ 0 w 214"/>
                <a:gd name="T11" fmla="*/ 121 h 241"/>
                <a:gd name="T12" fmla="*/ 9 w 214"/>
                <a:gd name="T13" fmla="*/ 74 h 241"/>
                <a:gd name="T14" fmla="*/ 34 w 214"/>
                <a:gd name="T15" fmla="*/ 36 h 241"/>
                <a:gd name="T16" fmla="*/ 72 w 214"/>
                <a:gd name="T17" fmla="*/ 10 h 241"/>
                <a:gd name="T18" fmla="*/ 121 w 214"/>
                <a:gd name="T19" fmla="*/ 0 h 241"/>
                <a:gd name="T20" fmla="*/ 175 w 214"/>
                <a:gd name="T21" fmla="*/ 11 h 241"/>
                <a:gd name="T22" fmla="*/ 213 w 214"/>
                <a:gd name="T23" fmla="*/ 39 h 241"/>
                <a:gd name="T24" fmla="*/ 173 w 214"/>
                <a:gd name="T25" fmla="*/ 82 h 241"/>
                <a:gd name="T26" fmla="*/ 150 w 214"/>
                <a:gd name="T27" fmla="*/ 64 h 241"/>
                <a:gd name="T28" fmla="*/ 120 w 214"/>
                <a:gd name="T29" fmla="*/ 57 h 241"/>
                <a:gd name="T30" fmla="*/ 98 w 214"/>
                <a:gd name="T31" fmla="*/ 62 h 241"/>
                <a:gd name="T32" fmla="*/ 80 w 214"/>
                <a:gd name="T33" fmla="*/ 75 h 241"/>
                <a:gd name="T34" fmla="*/ 68 w 214"/>
                <a:gd name="T35" fmla="*/ 95 h 241"/>
                <a:gd name="T36" fmla="*/ 64 w 214"/>
                <a:gd name="T37" fmla="*/ 120 h 241"/>
                <a:gd name="T38" fmla="*/ 64 w 214"/>
                <a:gd name="T39" fmla="*/ 121 h 241"/>
                <a:gd name="T40" fmla="*/ 68 w 214"/>
                <a:gd name="T41" fmla="*/ 146 h 241"/>
                <a:gd name="T42" fmla="*/ 80 w 214"/>
                <a:gd name="T43" fmla="*/ 166 h 241"/>
                <a:gd name="T44" fmla="*/ 99 w 214"/>
                <a:gd name="T45" fmla="*/ 179 h 241"/>
                <a:gd name="T46" fmla="*/ 123 w 214"/>
                <a:gd name="T47" fmla="*/ 184 h 241"/>
                <a:gd name="T48" fmla="*/ 152 w 214"/>
                <a:gd name="T49" fmla="*/ 178 h 241"/>
                <a:gd name="T50" fmla="*/ 176 w 214"/>
                <a:gd name="T51" fmla="*/ 160 h 241"/>
                <a:gd name="T52" fmla="*/ 214 w 214"/>
                <a:gd name="T53" fmla="*/ 199 h 241"/>
                <a:gd name="T54" fmla="*/ 176 w 214"/>
                <a:gd name="T55" fmla="*/ 229 h 241"/>
                <a:gd name="T56" fmla="*/ 120 w 214"/>
                <a:gd name="T5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4" h="241">
                  <a:moveTo>
                    <a:pt x="120" y="241"/>
                  </a:moveTo>
                  <a:cubicBezTo>
                    <a:pt x="103" y="241"/>
                    <a:pt x="87" y="238"/>
                    <a:pt x="72" y="231"/>
                  </a:cubicBezTo>
                  <a:cubicBezTo>
                    <a:pt x="57" y="225"/>
                    <a:pt x="44" y="216"/>
                    <a:pt x="34" y="206"/>
                  </a:cubicBezTo>
                  <a:cubicBezTo>
                    <a:pt x="23" y="195"/>
                    <a:pt x="15" y="182"/>
                    <a:pt x="9" y="168"/>
                  </a:cubicBezTo>
                  <a:cubicBezTo>
                    <a:pt x="3" y="153"/>
                    <a:pt x="0" y="138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9" y="74"/>
                  </a:cubicBezTo>
                  <a:cubicBezTo>
                    <a:pt x="15" y="59"/>
                    <a:pt x="23" y="47"/>
                    <a:pt x="34" y="36"/>
                  </a:cubicBezTo>
                  <a:cubicBezTo>
                    <a:pt x="44" y="25"/>
                    <a:pt x="57" y="16"/>
                    <a:pt x="72" y="10"/>
                  </a:cubicBezTo>
                  <a:cubicBezTo>
                    <a:pt x="87" y="4"/>
                    <a:pt x="103" y="0"/>
                    <a:pt x="121" y="0"/>
                  </a:cubicBezTo>
                  <a:cubicBezTo>
                    <a:pt x="143" y="0"/>
                    <a:pt x="161" y="4"/>
                    <a:pt x="175" y="11"/>
                  </a:cubicBezTo>
                  <a:cubicBezTo>
                    <a:pt x="189" y="18"/>
                    <a:pt x="202" y="27"/>
                    <a:pt x="213" y="39"/>
                  </a:cubicBezTo>
                  <a:lnTo>
                    <a:pt x="173" y="82"/>
                  </a:lnTo>
                  <a:cubicBezTo>
                    <a:pt x="165" y="74"/>
                    <a:pt x="158" y="68"/>
                    <a:pt x="150" y="64"/>
                  </a:cubicBezTo>
                  <a:cubicBezTo>
                    <a:pt x="142" y="59"/>
                    <a:pt x="132" y="57"/>
                    <a:pt x="120" y="57"/>
                  </a:cubicBezTo>
                  <a:cubicBezTo>
                    <a:pt x="112" y="57"/>
                    <a:pt x="104" y="58"/>
                    <a:pt x="98" y="62"/>
                  </a:cubicBezTo>
                  <a:cubicBezTo>
                    <a:pt x="91" y="65"/>
                    <a:pt x="85" y="70"/>
                    <a:pt x="80" y="75"/>
                  </a:cubicBezTo>
                  <a:cubicBezTo>
                    <a:pt x="75" y="81"/>
                    <a:pt x="71" y="88"/>
                    <a:pt x="68" y="95"/>
                  </a:cubicBezTo>
                  <a:cubicBezTo>
                    <a:pt x="66" y="103"/>
                    <a:pt x="64" y="111"/>
                    <a:pt x="64" y="120"/>
                  </a:cubicBezTo>
                  <a:lnTo>
                    <a:pt x="64" y="121"/>
                  </a:lnTo>
                  <a:cubicBezTo>
                    <a:pt x="64" y="129"/>
                    <a:pt x="66" y="138"/>
                    <a:pt x="68" y="146"/>
                  </a:cubicBezTo>
                  <a:cubicBezTo>
                    <a:pt x="71" y="153"/>
                    <a:pt x="75" y="160"/>
                    <a:pt x="80" y="166"/>
                  </a:cubicBezTo>
                  <a:cubicBezTo>
                    <a:pt x="85" y="172"/>
                    <a:pt x="92" y="176"/>
                    <a:pt x="99" y="179"/>
                  </a:cubicBezTo>
                  <a:cubicBezTo>
                    <a:pt x="106" y="183"/>
                    <a:pt x="114" y="184"/>
                    <a:pt x="123" y="184"/>
                  </a:cubicBezTo>
                  <a:cubicBezTo>
                    <a:pt x="134" y="184"/>
                    <a:pt x="143" y="182"/>
                    <a:pt x="152" y="178"/>
                  </a:cubicBezTo>
                  <a:cubicBezTo>
                    <a:pt x="160" y="173"/>
                    <a:pt x="168" y="167"/>
                    <a:pt x="176" y="160"/>
                  </a:cubicBezTo>
                  <a:lnTo>
                    <a:pt x="214" y="199"/>
                  </a:lnTo>
                  <a:cubicBezTo>
                    <a:pt x="203" y="211"/>
                    <a:pt x="190" y="221"/>
                    <a:pt x="176" y="229"/>
                  </a:cubicBezTo>
                  <a:cubicBezTo>
                    <a:pt x="162" y="237"/>
                    <a:pt x="143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081B9F33-8066-ACDE-9DBC-135BD8AC7F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3" y="365"/>
              <a:ext cx="26" cy="30"/>
            </a:xfrm>
            <a:custGeom>
              <a:avLst/>
              <a:gdLst>
                <a:gd name="T0" fmla="*/ 79 w 212"/>
                <a:gd name="T1" fmla="*/ 235 h 235"/>
                <a:gd name="T2" fmla="*/ 21 w 212"/>
                <a:gd name="T3" fmla="*/ 212 h 235"/>
                <a:gd name="T4" fmla="*/ 0 w 212"/>
                <a:gd name="T5" fmla="*/ 149 h 235"/>
                <a:gd name="T6" fmla="*/ 0 w 212"/>
                <a:gd name="T7" fmla="*/ 0 h 235"/>
                <a:gd name="T8" fmla="*/ 66 w 212"/>
                <a:gd name="T9" fmla="*/ 0 h 235"/>
                <a:gd name="T10" fmla="*/ 66 w 212"/>
                <a:gd name="T11" fmla="*/ 128 h 235"/>
                <a:gd name="T12" fmla="*/ 76 w 212"/>
                <a:gd name="T13" fmla="*/ 163 h 235"/>
                <a:gd name="T14" fmla="*/ 105 w 212"/>
                <a:gd name="T15" fmla="*/ 175 h 235"/>
                <a:gd name="T16" fmla="*/ 135 w 212"/>
                <a:gd name="T17" fmla="*/ 163 h 235"/>
                <a:gd name="T18" fmla="*/ 146 w 212"/>
                <a:gd name="T19" fmla="*/ 128 h 235"/>
                <a:gd name="T20" fmla="*/ 146 w 212"/>
                <a:gd name="T21" fmla="*/ 0 h 235"/>
                <a:gd name="T22" fmla="*/ 212 w 212"/>
                <a:gd name="T23" fmla="*/ 0 h 235"/>
                <a:gd name="T24" fmla="*/ 212 w 212"/>
                <a:gd name="T25" fmla="*/ 231 h 235"/>
                <a:gd name="T26" fmla="*/ 146 w 212"/>
                <a:gd name="T27" fmla="*/ 231 h 235"/>
                <a:gd name="T28" fmla="*/ 146 w 212"/>
                <a:gd name="T29" fmla="*/ 198 h 235"/>
                <a:gd name="T30" fmla="*/ 134 w 212"/>
                <a:gd name="T31" fmla="*/ 212 h 235"/>
                <a:gd name="T32" fmla="*/ 119 w 212"/>
                <a:gd name="T33" fmla="*/ 224 h 235"/>
                <a:gd name="T34" fmla="*/ 101 w 212"/>
                <a:gd name="T35" fmla="*/ 232 h 235"/>
                <a:gd name="T36" fmla="*/ 79 w 212"/>
                <a:gd name="T37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2" h="235">
                  <a:moveTo>
                    <a:pt x="79" y="235"/>
                  </a:moveTo>
                  <a:cubicBezTo>
                    <a:pt x="54" y="235"/>
                    <a:pt x="34" y="227"/>
                    <a:pt x="21" y="212"/>
                  </a:cubicBezTo>
                  <a:cubicBezTo>
                    <a:pt x="7" y="197"/>
                    <a:pt x="0" y="176"/>
                    <a:pt x="0" y="149"/>
                  </a:cubicBezTo>
                  <a:lnTo>
                    <a:pt x="0" y="0"/>
                  </a:lnTo>
                  <a:lnTo>
                    <a:pt x="66" y="0"/>
                  </a:lnTo>
                  <a:lnTo>
                    <a:pt x="66" y="128"/>
                  </a:lnTo>
                  <a:cubicBezTo>
                    <a:pt x="66" y="144"/>
                    <a:pt x="69" y="155"/>
                    <a:pt x="76" y="163"/>
                  </a:cubicBezTo>
                  <a:cubicBezTo>
                    <a:pt x="83" y="171"/>
                    <a:pt x="93" y="175"/>
                    <a:pt x="105" y="175"/>
                  </a:cubicBezTo>
                  <a:cubicBezTo>
                    <a:pt x="118" y="175"/>
                    <a:pt x="128" y="171"/>
                    <a:pt x="135" y="163"/>
                  </a:cubicBezTo>
                  <a:cubicBezTo>
                    <a:pt x="143" y="155"/>
                    <a:pt x="146" y="144"/>
                    <a:pt x="146" y="128"/>
                  </a:cubicBezTo>
                  <a:lnTo>
                    <a:pt x="146" y="0"/>
                  </a:lnTo>
                  <a:lnTo>
                    <a:pt x="212" y="0"/>
                  </a:lnTo>
                  <a:lnTo>
                    <a:pt x="212" y="231"/>
                  </a:lnTo>
                  <a:lnTo>
                    <a:pt x="146" y="231"/>
                  </a:lnTo>
                  <a:lnTo>
                    <a:pt x="146" y="198"/>
                  </a:lnTo>
                  <a:cubicBezTo>
                    <a:pt x="142" y="202"/>
                    <a:pt x="138" y="207"/>
                    <a:pt x="134" y="212"/>
                  </a:cubicBezTo>
                  <a:cubicBezTo>
                    <a:pt x="129" y="216"/>
                    <a:pt x="125" y="220"/>
                    <a:pt x="119" y="224"/>
                  </a:cubicBezTo>
                  <a:cubicBezTo>
                    <a:pt x="114" y="227"/>
                    <a:pt x="108" y="230"/>
                    <a:pt x="101" y="232"/>
                  </a:cubicBezTo>
                  <a:cubicBezTo>
                    <a:pt x="94" y="234"/>
                    <a:pt x="87" y="235"/>
                    <a:pt x="79" y="235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0FA13FD4-F29D-77AE-A9E0-E2AE2FBD4B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6" y="364"/>
              <a:ext cx="30" cy="39"/>
            </a:xfrm>
            <a:custGeom>
              <a:avLst/>
              <a:gdLst>
                <a:gd name="T0" fmla="*/ 121 w 243"/>
                <a:gd name="T1" fmla="*/ 184 h 305"/>
                <a:gd name="T2" fmla="*/ 143 w 243"/>
                <a:gd name="T3" fmla="*/ 180 h 305"/>
                <a:gd name="T4" fmla="*/ 161 w 243"/>
                <a:gd name="T5" fmla="*/ 167 h 305"/>
                <a:gd name="T6" fmla="*/ 173 w 243"/>
                <a:gd name="T7" fmla="*/ 147 h 305"/>
                <a:gd name="T8" fmla="*/ 177 w 243"/>
                <a:gd name="T9" fmla="*/ 121 h 305"/>
                <a:gd name="T10" fmla="*/ 177 w 243"/>
                <a:gd name="T11" fmla="*/ 120 h 305"/>
                <a:gd name="T12" fmla="*/ 173 w 243"/>
                <a:gd name="T13" fmla="*/ 94 h 305"/>
                <a:gd name="T14" fmla="*/ 161 w 243"/>
                <a:gd name="T15" fmla="*/ 73 h 305"/>
                <a:gd name="T16" fmla="*/ 143 w 243"/>
                <a:gd name="T17" fmla="*/ 60 h 305"/>
                <a:gd name="T18" fmla="*/ 121 w 243"/>
                <a:gd name="T19" fmla="*/ 56 h 305"/>
                <a:gd name="T20" fmla="*/ 99 w 243"/>
                <a:gd name="T21" fmla="*/ 60 h 305"/>
                <a:gd name="T22" fmla="*/ 81 w 243"/>
                <a:gd name="T23" fmla="*/ 73 h 305"/>
                <a:gd name="T24" fmla="*/ 69 w 243"/>
                <a:gd name="T25" fmla="*/ 94 h 305"/>
                <a:gd name="T26" fmla="*/ 65 w 243"/>
                <a:gd name="T27" fmla="*/ 120 h 305"/>
                <a:gd name="T28" fmla="*/ 65 w 243"/>
                <a:gd name="T29" fmla="*/ 121 h 305"/>
                <a:gd name="T30" fmla="*/ 69 w 243"/>
                <a:gd name="T31" fmla="*/ 147 h 305"/>
                <a:gd name="T32" fmla="*/ 81 w 243"/>
                <a:gd name="T33" fmla="*/ 167 h 305"/>
                <a:gd name="T34" fmla="*/ 99 w 243"/>
                <a:gd name="T35" fmla="*/ 180 h 305"/>
                <a:gd name="T36" fmla="*/ 121 w 243"/>
                <a:gd name="T37" fmla="*/ 184 h 305"/>
                <a:gd name="T38" fmla="*/ 0 w 243"/>
                <a:gd name="T39" fmla="*/ 5 h 305"/>
                <a:gd name="T40" fmla="*/ 66 w 243"/>
                <a:gd name="T41" fmla="*/ 5 h 305"/>
                <a:gd name="T42" fmla="*/ 66 w 243"/>
                <a:gd name="T43" fmla="*/ 38 h 305"/>
                <a:gd name="T44" fmla="*/ 95 w 243"/>
                <a:gd name="T45" fmla="*/ 11 h 305"/>
                <a:gd name="T46" fmla="*/ 138 w 243"/>
                <a:gd name="T47" fmla="*/ 0 h 305"/>
                <a:gd name="T48" fmla="*/ 177 w 243"/>
                <a:gd name="T49" fmla="*/ 8 h 305"/>
                <a:gd name="T50" fmla="*/ 210 w 243"/>
                <a:gd name="T51" fmla="*/ 31 h 305"/>
                <a:gd name="T52" fmla="*/ 234 w 243"/>
                <a:gd name="T53" fmla="*/ 69 h 305"/>
                <a:gd name="T54" fmla="*/ 243 w 243"/>
                <a:gd name="T55" fmla="*/ 120 h 305"/>
                <a:gd name="T56" fmla="*/ 243 w 243"/>
                <a:gd name="T57" fmla="*/ 121 h 305"/>
                <a:gd name="T58" fmla="*/ 234 w 243"/>
                <a:gd name="T59" fmla="*/ 172 h 305"/>
                <a:gd name="T60" fmla="*/ 211 w 243"/>
                <a:gd name="T61" fmla="*/ 209 h 305"/>
                <a:gd name="T62" fmla="*/ 177 w 243"/>
                <a:gd name="T63" fmla="*/ 232 h 305"/>
                <a:gd name="T64" fmla="*/ 138 w 243"/>
                <a:gd name="T65" fmla="*/ 240 h 305"/>
                <a:gd name="T66" fmla="*/ 94 w 243"/>
                <a:gd name="T67" fmla="*/ 230 h 305"/>
                <a:gd name="T68" fmla="*/ 66 w 243"/>
                <a:gd name="T69" fmla="*/ 205 h 305"/>
                <a:gd name="T70" fmla="*/ 66 w 243"/>
                <a:gd name="T71" fmla="*/ 305 h 305"/>
                <a:gd name="T72" fmla="*/ 0 w 243"/>
                <a:gd name="T73" fmla="*/ 305 h 305"/>
                <a:gd name="T74" fmla="*/ 0 w 243"/>
                <a:gd name="T75" fmla="*/ 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3" h="305">
                  <a:moveTo>
                    <a:pt x="121" y="184"/>
                  </a:moveTo>
                  <a:cubicBezTo>
                    <a:pt x="129" y="184"/>
                    <a:pt x="136" y="183"/>
                    <a:pt x="143" y="180"/>
                  </a:cubicBezTo>
                  <a:cubicBezTo>
                    <a:pt x="149" y="177"/>
                    <a:pt x="155" y="172"/>
                    <a:pt x="161" y="167"/>
                  </a:cubicBezTo>
                  <a:cubicBezTo>
                    <a:pt x="166" y="161"/>
                    <a:pt x="170" y="155"/>
                    <a:pt x="173" y="147"/>
                  </a:cubicBezTo>
                  <a:cubicBezTo>
                    <a:pt x="176" y="139"/>
                    <a:pt x="177" y="130"/>
                    <a:pt x="177" y="121"/>
                  </a:cubicBezTo>
                  <a:lnTo>
                    <a:pt x="177" y="120"/>
                  </a:lnTo>
                  <a:cubicBezTo>
                    <a:pt x="177" y="110"/>
                    <a:pt x="176" y="102"/>
                    <a:pt x="173" y="94"/>
                  </a:cubicBezTo>
                  <a:cubicBezTo>
                    <a:pt x="170" y="86"/>
                    <a:pt x="166" y="79"/>
                    <a:pt x="161" y="73"/>
                  </a:cubicBezTo>
                  <a:cubicBezTo>
                    <a:pt x="155" y="68"/>
                    <a:pt x="149" y="63"/>
                    <a:pt x="143" y="60"/>
                  </a:cubicBezTo>
                  <a:cubicBezTo>
                    <a:pt x="136" y="57"/>
                    <a:pt x="129" y="56"/>
                    <a:pt x="121" y="56"/>
                  </a:cubicBezTo>
                  <a:cubicBezTo>
                    <a:pt x="113" y="56"/>
                    <a:pt x="106" y="57"/>
                    <a:pt x="99" y="60"/>
                  </a:cubicBezTo>
                  <a:cubicBezTo>
                    <a:pt x="92" y="63"/>
                    <a:pt x="86" y="68"/>
                    <a:pt x="81" y="73"/>
                  </a:cubicBezTo>
                  <a:cubicBezTo>
                    <a:pt x="76" y="79"/>
                    <a:pt x="72" y="86"/>
                    <a:pt x="69" y="94"/>
                  </a:cubicBezTo>
                  <a:cubicBezTo>
                    <a:pt x="66" y="102"/>
                    <a:pt x="65" y="110"/>
                    <a:pt x="65" y="120"/>
                  </a:cubicBezTo>
                  <a:lnTo>
                    <a:pt x="65" y="121"/>
                  </a:lnTo>
                  <a:cubicBezTo>
                    <a:pt x="65" y="130"/>
                    <a:pt x="66" y="139"/>
                    <a:pt x="69" y="147"/>
                  </a:cubicBezTo>
                  <a:cubicBezTo>
                    <a:pt x="72" y="155"/>
                    <a:pt x="76" y="161"/>
                    <a:pt x="81" y="167"/>
                  </a:cubicBezTo>
                  <a:cubicBezTo>
                    <a:pt x="86" y="172"/>
                    <a:pt x="92" y="177"/>
                    <a:pt x="99" y="180"/>
                  </a:cubicBezTo>
                  <a:cubicBezTo>
                    <a:pt x="106" y="183"/>
                    <a:pt x="113" y="184"/>
                    <a:pt x="121" y="184"/>
                  </a:cubicBezTo>
                  <a:close/>
                  <a:moveTo>
                    <a:pt x="0" y="5"/>
                  </a:moveTo>
                  <a:lnTo>
                    <a:pt x="66" y="5"/>
                  </a:lnTo>
                  <a:lnTo>
                    <a:pt x="66" y="38"/>
                  </a:lnTo>
                  <a:cubicBezTo>
                    <a:pt x="74" y="27"/>
                    <a:pt x="83" y="18"/>
                    <a:pt x="95" y="11"/>
                  </a:cubicBezTo>
                  <a:cubicBezTo>
                    <a:pt x="106" y="4"/>
                    <a:pt x="120" y="0"/>
                    <a:pt x="138" y="0"/>
                  </a:cubicBezTo>
                  <a:cubicBezTo>
                    <a:pt x="151" y="0"/>
                    <a:pt x="164" y="3"/>
                    <a:pt x="177" y="8"/>
                  </a:cubicBezTo>
                  <a:cubicBezTo>
                    <a:pt x="190" y="13"/>
                    <a:pt x="201" y="21"/>
                    <a:pt x="210" y="31"/>
                  </a:cubicBezTo>
                  <a:cubicBezTo>
                    <a:pt x="220" y="41"/>
                    <a:pt x="228" y="54"/>
                    <a:pt x="234" y="69"/>
                  </a:cubicBezTo>
                  <a:cubicBezTo>
                    <a:pt x="240" y="83"/>
                    <a:pt x="243" y="100"/>
                    <a:pt x="243" y="120"/>
                  </a:cubicBezTo>
                  <a:lnTo>
                    <a:pt x="243" y="121"/>
                  </a:lnTo>
                  <a:cubicBezTo>
                    <a:pt x="243" y="140"/>
                    <a:pt x="240" y="157"/>
                    <a:pt x="234" y="172"/>
                  </a:cubicBezTo>
                  <a:cubicBezTo>
                    <a:pt x="228" y="186"/>
                    <a:pt x="220" y="199"/>
                    <a:pt x="211" y="209"/>
                  </a:cubicBezTo>
                  <a:cubicBezTo>
                    <a:pt x="201" y="219"/>
                    <a:pt x="190" y="227"/>
                    <a:pt x="177" y="232"/>
                  </a:cubicBezTo>
                  <a:cubicBezTo>
                    <a:pt x="165" y="237"/>
                    <a:pt x="151" y="240"/>
                    <a:pt x="138" y="240"/>
                  </a:cubicBezTo>
                  <a:cubicBezTo>
                    <a:pt x="120" y="240"/>
                    <a:pt x="106" y="236"/>
                    <a:pt x="94" y="230"/>
                  </a:cubicBezTo>
                  <a:cubicBezTo>
                    <a:pt x="83" y="223"/>
                    <a:pt x="74" y="215"/>
                    <a:pt x="66" y="205"/>
                  </a:cubicBezTo>
                  <a:lnTo>
                    <a:pt x="66" y="305"/>
                  </a:lnTo>
                  <a:lnTo>
                    <a:pt x="0" y="305"/>
                  </a:lnTo>
                  <a:lnTo>
                    <a:pt x="0" y="5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E6576E34-6C54-53E4-7588-D9DA87C595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1" y="364"/>
              <a:ext cx="28" cy="31"/>
            </a:xfrm>
            <a:custGeom>
              <a:avLst/>
              <a:gdLst>
                <a:gd name="T0" fmla="*/ 163 w 226"/>
                <a:gd name="T1" fmla="*/ 102 h 241"/>
                <a:gd name="T2" fmla="*/ 147 w 226"/>
                <a:gd name="T3" fmla="*/ 66 h 241"/>
                <a:gd name="T4" fmla="*/ 114 w 226"/>
                <a:gd name="T5" fmla="*/ 53 h 241"/>
                <a:gd name="T6" fmla="*/ 81 w 226"/>
                <a:gd name="T7" fmla="*/ 66 h 241"/>
                <a:gd name="T8" fmla="*/ 64 w 226"/>
                <a:gd name="T9" fmla="*/ 102 h 241"/>
                <a:gd name="T10" fmla="*/ 163 w 226"/>
                <a:gd name="T11" fmla="*/ 102 h 241"/>
                <a:gd name="T12" fmla="*/ 120 w 226"/>
                <a:gd name="T13" fmla="*/ 241 h 241"/>
                <a:gd name="T14" fmla="*/ 72 w 226"/>
                <a:gd name="T15" fmla="*/ 232 h 241"/>
                <a:gd name="T16" fmla="*/ 34 w 226"/>
                <a:gd name="T17" fmla="*/ 208 h 241"/>
                <a:gd name="T18" fmla="*/ 9 w 226"/>
                <a:gd name="T19" fmla="*/ 170 h 241"/>
                <a:gd name="T20" fmla="*/ 0 w 226"/>
                <a:gd name="T21" fmla="*/ 121 h 241"/>
                <a:gd name="T22" fmla="*/ 0 w 226"/>
                <a:gd name="T23" fmla="*/ 121 h 241"/>
                <a:gd name="T24" fmla="*/ 8 w 226"/>
                <a:gd name="T25" fmla="*/ 74 h 241"/>
                <a:gd name="T26" fmla="*/ 32 w 226"/>
                <a:gd name="T27" fmla="*/ 36 h 241"/>
                <a:gd name="T28" fmla="*/ 68 w 226"/>
                <a:gd name="T29" fmla="*/ 10 h 241"/>
                <a:gd name="T30" fmla="*/ 114 w 226"/>
                <a:gd name="T31" fmla="*/ 0 h 241"/>
                <a:gd name="T32" fmla="*/ 164 w 226"/>
                <a:gd name="T33" fmla="*/ 11 h 241"/>
                <a:gd name="T34" fmla="*/ 199 w 226"/>
                <a:gd name="T35" fmla="*/ 38 h 241"/>
                <a:gd name="T36" fmla="*/ 220 w 226"/>
                <a:gd name="T37" fmla="*/ 79 h 241"/>
                <a:gd name="T38" fmla="*/ 226 w 226"/>
                <a:gd name="T39" fmla="*/ 126 h 241"/>
                <a:gd name="T40" fmla="*/ 226 w 226"/>
                <a:gd name="T41" fmla="*/ 134 h 241"/>
                <a:gd name="T42" fmla="*/ 226 w 226"/>
                <a:gd name="T43" fmla="*/ 143 h 241"/>
                <a:gd name="T44" fmla="*/ 65 w 226"/>
                <a:gd name="T45" fmla="*/ 143 h 241"/>
                <a:gd name="T46" fmla="*/ 85 w 226"/>
                <a:gd name="T47" fmla="*/ 177 h 241"/>
                <a:gd name="T48" fmla="*/ 121 w 226"/>
                <a:gd name="T49" fmla="*/ 188 h 241"/>
                <a:gd name="T50" fmla="*/ 151 w 226"/>
                <a:gd name="T51" fmla="*/ 183 h 241"/>
                <a:gd name="T52" fmla="*/ 177 w 226"/>
                <a:gd name="T53" fmla="*/ 164 h 241"/>
                <a:gd name="T54" fmla="*/ 215 w 226"/>
                <a:gd name="T55" fmla="*/ 198 h 241"/>
                <a:gd name="T56" fmla="*/ 175 w 226"/>
                <a:gd name="T57" fmla="*/ 229 h 241"/>
                <a:gd name="T58" fmla="*/ 120 w 226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6" h="241">
                  <a:moveTo>
                    <a:pt x="163" y="102"/>
                  </a:moveTo>
                  <a:cubicBezTo>
                    <a:pt x="161" y="87"/>
                    <a:pt x="156" y="76"/>
                    <a:pt x="147" y="66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0" y="53"/>
                    <a:pt x="89" y="57"/>
                    <a:pt x="81" y="66"/>
                  </a:cubicBezTo>
                  <a:cubicBezTo>
                    <a:pt x="72" y="75"/>
                    <a:pt x="67" y="87"/>
                    <a:pt x="64" y="102"/>
                  </a:cubicBezTo>
                  <a:lnTo>
                    <a:pt x="163" y="102"/>
                  </a:lnTo>
                  <a:close/>
                  <a:moveTo>
                    <a:pt x="120" y="241"/>
                  </a:moveTo>
                  <a:cubicBezTo>
                    <a:pt x="103" y="241"/>
                    <a:pt x="87" y="238"/>
                    <a:pt x="72" y="232"/>
                  </a:cubicBezTo>
                  <a:cubicBezTo>
                    <a:pt x="58" y="226"/>
                    <a:pt x="45" y="218"/>
                    <a:pt x="34" y="208"/>
                  </a:cubicBezTo>
                  <a:cubicBezTo>
                    <a:pt x="23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8" y="74"/>
                  </a:cubicBezTo>
                  <a:cubicBezTo>
                    <a:pt x="14" y="59"/>
                    <a:pt x="22" y="47"/>
                    <a:pt x="32" y="36"/>
                  </a:cubicBezTo>
                  <a:cubicBezTo>
                    <a:pt x="42" y="25"/>
                    <a:pt x="54" y="16"/>
                    <a:pt x="68" y="10"/>
                  </a:cubicBezTo>
                  <a:cubicBezTo>
                    <a:pt x="82" y="4"/>
                    <a:pt x="97" y="0"/>
                    <a:pt x="114" y="0"/>
                  </a:cubicBezTo>
                  <a:cubicBezTo>
                    <a:pt x="133" y="0"/>
                    <a:pt x="150" y="4"/>
                    <a:pt x="164" y="11"/>
                  </a:cubicBezTo>
                  <a:cubicBezTo>
                    <a:pt x="178" y="18"/>
                    <a:pt x="190" y="27"/>
                    <a:pt x="199" y="38"/>
                  </a:cubicBezTo>
                  <a:cubicBezTo>
                    <a:pt x="208" y="50"/>
                    <a:pt x="215" y="63"/>
                    <a:pt x="220" y="79"/>
                  </a:cubicBezTo>
                  <a:cubicBezTo>
                    <a:pt x="224" y="94"/>
                    <a:pt x="226" y="109"/>
                    <a:pt x="226" y="126"/>
                  </a:cubicBezTo>
                  <a:cubicBezTo>
                    <a:pt x="226" y="128"/>
                    <a:pt x="226" y="131"/>
                    <a:pt x="226" y="134"/>
                  </a:cubicBezTo>
                  <a:cubicBezTo>
                    <a:pt x="226" y="137"/>
                    <a:pt x="226" y="140"/>
                    <a:pt x="226" y="143"/>
                  </a:cubicBezTo>
                  <a:lnTo>
                    <a:pt x="65" y="143"/>
                  </a:lnTo>
                  <a:cubicBezTo>
                    <a:pt x="68" y="158"/>
                    <a:pt x="75" y="169"/>
                    <a:pt x="85" y="177"/>
                  </a:cubicBezTo>
                  <a:cubicBezTo>
                    <a:pt x="94" y="184"/>
                    <a:pt x="107" y="188"/>
                    <a:pt x="121" y="188"/>
                  </a:cubicBezTo>
                  <a:cubicBezTo>
                    <a:pt x="132" y="188"/>
                    <a:pt x="142" y="186"/>
                    <a:pt x="151" y="183"/>
                  </a:cubicBezTo>
                  <a:cubicBezTo>
                    <a:pt x="159" y="179"/>
                    <a:pt x="168" y="173"/>
                    <a:pt x="177" y="164"/>
                  </a:cubicBezTo>
                  <a:lnTo>
                    <a:pt x="215" y="198"/>
                  </a:lnTo>
                  <a:cubicBezTo>
                    <a:pt x="204" y="211"/>
                    <a:pt x="191" y="222"/>
                    <a:pt x="175" y="229"/>
                  </a:cubicBezTo>
                  <a:cubicBezTo>
                    <a:pt x="160" y="237"/>
                    <a:pt x="141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7C7D0020-EE39-6DCF-2EB8-C98E10C5E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" y="364"/>
              <a:ext cx="17" cy="30"/>
            </a:xfrm>
            <a:custGeom>
              <a:avLst/>
              <a:gdLst>
                <a:gd name="T0" fmla="*/ 0 w 139"/>
                <a:gd name="T1" fmla="*/ 6 h 237"/>
                <a:gd name="T2" fmla="*/ 66 w 139"/>
                <a:gd name="T3" fmla="*/ 6 h 237"/>
                <a:gd name="T4" fmla="*/ 66 w 139"/>
                <a:gd name="T5" fmla="*/ 52 h 237"/>
                <a:gd name="T6" fmla="*/ 93 w 139"/>
                <a:gd name="T7" fmla="*/ 14 h 237"/>
                <a:gd name="T8" fmla="*/ 139 w 139"/>
                <a:gd name="T9" fmla="*/ 1 h 237"/>
                <a:gd name="T10" fmla="*/ 139 w 139"/>
                <a:gd name="T11" fmla="*/ 70 h 237"/>
                <a:gd name="T12" fmla="*/ 136 w 139"/>
                <a:gd name="T13" fmla="*/ 70 h 237"/>
                <a:gd name="T14" fmla="*/ 84 w 139"/>
                <a:gd name="T15" fmla="*/ 90 h 237"/>
                <a:gd name="T16" fmla="*/ 66 w 139"/>
                <a:gd name="T17" fmla="*/ 151 h 237"/>
                <a:gd name="T18" fmla="*/ 66 w 139"/>
                <a:gd name="T19" fmla="*/ 237 h 237"/>
                <a:gd name="T20" fmla="*/ 0 w 139"/>
                <a:gd name="T21" fmla="*/ 237 h 237"/>
                <a:gd name="T22" fmla="*/ 0 w 139"/>
                <a:gd name="T23" fmla="*/ 6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237">
                  <a:moveTo>
                    <a:pt x="0" y="6"/>
                  </a:moveTo>
                  <a:lnTo>
                    <a:pt x="66" y="6"/>
                  </a:lnTo>
                  <a:lnTo>
                    <a:pt x="66" y="52"/>
                  </a:lnTo>
                  <a:cubicBezTo>
                    <a:pt x="72" y="36"/>
                    <a:pt x="81" y="24"/>
                    <a:pt x="93" y="14"/>
                  </a:cubicBezTo>
                  <a:cubicBezTo>
                    <a:pt x="104" y="5"/>
                    <a:pt x="120" y="0"/>
                    <a:pt x="139" y="1"/>
                  </a:cubicBezTo>
                  <a:lnTo>
                    <a:pt x="139" y="70"/>
                  </a:lnTo>
                  <a:lnTo>
                    <a:pt x="136" y="70"/>
                  </a:lnTo>
                  <a:cubicBezTo>
                    <a:pt x="114" y="70"/>
                    <a:pt x="97" y="76"/>
                    <a:pt x="84" y="90"/>
                  </a:cubicBezTo>
                  <a:cubicBezTo>
                    <a:pt x="72" y="103"/>
                    <a:pt x="66" y="123"/>
                    <a:pt x="66" y="151"/>
                  </a:cubicBezTo>
                  <a:lnTo>
                    <a:pt x="66" y="237"/>
                  </a:lnTo>
                  <a:lnTo>
                    <a:pt x="0" y="237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BEB6C5A5-6047-E87B-02D4-094E0D15F4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6" y="364"/>
              <a:ext cx="26" cy="31"/>
            </a:xfrm>
            <a:custGeom>
              <a:avLst/>
              <a:gdLst>
                <a:gd name="T0" fmla="*/ 100 w 213"/>
                <a:gd name="T1" fmla="*/ 193 h 238"/>
                <a:gd name="T2" fmla="*/ 137 w 213"/>
                <a:gd name="T3" fmla="*/ 181 h 238"/>
                <a:gd name="T4" fmla="*/ 151 w 213"/>
                <a:gd name="T5" fmla="*/ 152 h 238"/>
                <a:gd name="T6" fmla="*/ 151 w 213"/>
                <a:gd name="T7" fmla="*/ 141 h 238"/>
                <a:gd name="T8" fmla="*/ 132 w 213"/>
                <a:gd name="T9" fmla="*/ 134 h 238"/>
                <a:gd name="T10" fmla="*/ 109 w 213"/>
                <a:gd name="T11" fmla="*/ 132 h 238"/>
                <a:gd name="T12" fmla="*/ 76 w 213"/>
                <a:gd name="T13" fmla="*/ 140 h 238"/>
                <a:gd name="T14" fmla="*/ 64 w 213"/>
                <a:gd name="T15" fmla="*/ 164 h 238"/>
                <a:gd name="T16" fmla="*/ 64 w 213"/>
                <a:gd name="T17" fmla="*/ 165 h 238"/>
                <a:gd name="T18" fmla="*/ 74 w 213"/>
                <a:gd name="T19" fmla="*/ 185 h 238"/>
                <a:gd name="T20" fmla="*/ 100 w 213"/>
                <a:gd name="T21" fmla="*/ 193 h 238"/>
                <a:gd name="T22" fmla="*/ 80 w 213"/>
                <a:gd name="T23" fmla="*/ 238 h 238"/>
                <a:gd name="T24" fmla="*/ 49 w 213"/>
                <a:gd name="T25" fmla="*/ 233 h 238"/>
                <a:gd name="T26" fmla="*/ 24 w 213"/>
                <a:gd name="T27" fmla="*/ 220 h 238"/>
                <a:gd name="T28" fmla="*/ 7 w 213"/>
                <a:gd name="T29" fmla="*/ 198 h 238"/>
                <a:gd name="T30" fmla="*/ 0 w 213"/>
                <a:gd name="T31" fmla="*/ 167 h 238"/>
                <a:gd name="T32" fmla="*/ 0 w 213"/>
                <a:gd name="T33" fmla="*/ 166 h 238"/>
                <a:gd name="T34" fmla="*/ 7 w 213"/>
                <a:gd name="T35" fmla="*/ 134 h 238"/>
                <a:gd name="T36" fmla="*/ 26 w 213"/>
                <a:gd name="T37" fmla="*/ 111 h 238"/>
                <a:gd name="T38" fmla="*/ 56 w 213"/>
                <a:gd name="T39" fmla="*/ 97 h 238"/>
                <a:gd name="T40" fmla="*/ 93 w 213"/>
                <a:gd name="T41" fmla="*/ 93 h 238"/>
                <a:gd name="T42" fmla="*/ 124 w 213"/>
                <a:gd name="T43" fmla="*/ 95 h 238"/>
                <a:gd name="T44" fmla="*/ 150 w 213"/>
                <a:gd name="T45" fmla="*/ 102 h 238"/>
                <a:gd name="T46" fmla="*/ 150 w 213"/>
                <a:gd name="T47" fmla="*/ 98 h 238"/>
                <a:gd name="T48" fmla="*/ 137 w 213"/>
                <a:gd name="T49" fmla="*/ 67 h 238"/>
                <a:gd name="T50" fmla="*/ 100 w 213"/>
                <a:gd name="T51" fmla="*/ 56 h 238"/>
                <a:gd name="T52" fmla="*/ 67 w 213"/>
                <a:gd name="T53" fmla="*/ 59 h 238"/>
                <a:gd name="T54" fmla="*/ 37 w 213"/>
                <a:gd name="T55" fmla="*/ 69 h 238"/>
                <a:gd name="T56" fmla="*/ 20 w 213"/>
                <a:gd name="T57" fmla="*/ 19 h 238"/>
                <a:gd name="T58" fmla="*/ 60 w 213"/>
                <a:gd name="T59" fmla="*/ 5 h 238"/>
                <a:gd name="T60" fmla="*/ 110 w 213"/>
                <a:gd name="T61" fmla="*/ 0 h 238"/>
                <a:gd name="T62" fmla="*/ 156 w 213"/>
                <a:gd name="T63" fmla="*/ 7 h 238"/>
                <a:gd name="T64" fmla="*/ 188 w 213"/>
                <a:gd name="T65" fmla="*/ 26 h 238"/>
                <a:gd name="T66" fmla="*/ 207 w 213"/>
                <a:gd name="T67" fmla="*/ 58 h 238"/>
                <a:gd name="T68" fmla="*/ 213 w 213"/>
                <a:gd name="T69" fmla="*/ 100 h 238"/>
                <a:gd name="T70" fmla="*/ 213 w 213"/>
                <a:gd name="T71" fmla="*/ 234 h 238"/>
                <a:gd name="T72" fmla="*/ 149 w 213"/>
                <a:gd name="T73" fmla="*/ 234 h 238"/>
                <a:gd name="T74" fmla="*/ 149 w 213"/>
                <a:gd name="T75" fmla="*/ 209 h 238"/>
                <a:gd name="T76" fmla="*/ 121 w 213"/>
                <a:gd name="T77" fmla="*/ 230 h 238"/>
                <a:gd name="T78" fmla="*/ 80 w 213"/>
                <a:gd name="T7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3" h="238">
                  <a:moveTo>
                    <a:pt x="100" y="193"/>
                  </a:moveTo>
                  <a:cubicBezTo>
                    <a:pt x="115" y="193"/>
                    <a:pt x="127" y="189"/>
                    <a:pt x="137" y="181"/>
                  </a:cubicBezTo>
                  <a:cubicBezTo>
                    <a:pt x="146" y="174"/>
                    <a:pt x="151" y="164"/>
                    <a:pt x="151" y="152"/>
                  </a:cubicBezTo>
                  <a:lnTo>
                    <a:pt x="151" y="141"/>
                  </a:lnTo>
                  <a:cubicBezTo>
                    <a:pt x="145" y="138"/>
                    <a:pt x="139" y="136"/>
                    <a:pt x="132" y="134"/>
                  </a:cubicBezTo>
                  <a:cubicBezTo>
                    <a:pt x="125" y="133"/>
                    <a:pt x="117" y="132"/>
                    <a:pt x="109" y="132"/>
                  </a:cubicBezTo>
                  <a:cubicBezTo>
                    <a:pt x="95" y="132"/>
                    <a:pt x="84" y="135"/>
                    <a:pt x="76" y="140"/>
                  </a:cubicBezTo>
                  <a:cubicBezTo>
                    <a:pt x="68" y="146"/>
                    <a:pt x="64" y="153"/>
                    <a:pt x="64" y="164"/>
                  </a:cubicBezTo>
                  <a:lnTo>
                    <a:pt x="64" y="165"/>
                  </a:lnTo>
                  <a:cubicBezTo>
                    <a:pt x="64" y="174"/>
                    <a:pt x="67" y="180"/>
                    <a:pt x="74" y="185"/>
                  </a:cubicBezTo>
                  <a:cubicBezTo>
                    <a:pt x="80" y="190"/>
                    <a:pt x="89" y="193"/>
                    <a:pt x="100" y="193"/>
                  </a:cubicBezTo>
                  <a:close/>
                  <a:moveTo>
                    <a:pt x="80" y="238"/>
                  </a:moveTo>
                  <a:cubicBezTo>
                    <a:pt x="69" y="238"/>
                    <a:pt x="59" y="236"/>
                    <a:pt x="49" y="233"/>
                  </a:cubicBezTo>
                  <a:cubicBezTo>
                    <a:pt x="39" y="230"/>
                    <a:pt x="31" y="226"/>
                    <a:pt x="24" y="220"/>
                  </a:cubicBezTo>
                  <a:cubicBezTo>
                    <a:pt x="17" y="214"/>
                    <a:pt x="11" y="206"/>
                    <a:pt x="7" y="198"/>
                  </a:cubicBezTo>
                  <a:cubicBezTo>
                    <a:pt x="3" y="189"/>
                    <a:pt x="0" y="179"/>
                    <a:pt x="0" y="167"/>
                  </a:cubicBezTo>
                  <a:lnTo>
                    <a:pt x="0" y="166"/>
                  </a:lnTo>
                  <a:cubicBezTo>
                    <a:pt x="0" y="154"/>
                    <a:pt x="3" y="143"/>
                    <a:pt x="7" y="134"/>
                  </a:cubicBezTo>
                  <a:cubicBezTo>
                    <a:pt x="12" y="124"/>
                    <a:pt x="18" y="117"/>
                    <a:pt x="26" y="111"/>
                  </a:cubicBezTo>
                  <a:cubicBezTo>
                    <a:pt x="35" y="105"/>
                    <a:pt x="44" y="100"/>
                    <a:pt x="56" y="97"/>
                  </a:cubicBezTo>
                  <a:cubicBezTo>
                    <a:pt x="67" y="94"/>
                    <a:pt x="80" y="93"/>
                    <a:pt x="93" y="93"/>
                  </a:cubicBezTo>
                  <a:cubicBezTo>
                    <a:pt x="105" y="93"/>
                    <a:pt x="116" y="94"/>
                    <a:pt x="124" y="95"/>
                  </a:cubicBezTo>
                  <a:cubicBezTo>
                    <a:pt x="133" y="97"/>
                    <a:pt x="142" y="99"/>
                    <a:pt x="150" y="102"/>
                  </a:cubicBezTo>
                  <a:lnTo>
                    <a:pt x="150" y="98"/>
                  </a:lnTo>
                  <a:cubicBezTo>
                    <a:pt x="150" y="85"/>
                    <a:pt x="146" y="74"/>
                    <a:pt x="137" y="67"/>
                  </a:cubicBezTo>
                  <a:cubicBezTo>
                    <a:pt x="129" y="60"/>
                    <a:pt x="117" y="56"/>
                    <a:pt x="100" y="56"/>
                  </a:cubicBezTo>
                  <a:cubicBezTo>
                    <a:pt x="88" y="56"/>
                    <a:pt x="77" y="57"/>
                    <a:pt x="67" y="59"/>
                  </a:cubicBezTo>
                  <a:cubicBezTo>
                    <a:pt x="57" y="61"/>
                    <a:pt x="47" y="65"/>
                    <a:pt x="37" y="69"/>
                  </a:cubicBezTo>
                  <a:lnTo>
                    <a:pt x="20" y="19"/>
                  </a:lnTo>
                  <a:cubicBezTo>
                    <a:pt x="33" y="13"/>
                    <a:pt x="46" y="9"/>
                    <a:pt x="60" y="5"/>
                  </a:cubicBezTo>
                  <a:cubicBezTo>
                    <a:pt x="74" y="2"/>
                    <a:pt x="90" y="0"/>
                    <a:pt x="110" y="0"/>
                  </a:cubicBezTo>
                  <a:cubicBezTo>
                    <a:pt x="128" y="0"/>
                    <a:pt x="143" y="2"/>
                    <a:pt x="156" y="7"/>
                  </a:cubicBezTo>
                  <a:cubicBezTo>
                    <a:pt x="169" y="11"/>
                    <a:pt x="179" y="18"/>
                    <a:pt x="188" y="26"/>
                  </a:cubicBezTo>
                  <a:cubicBezTo>
                    <a:pt x="196" y="35"/>
                    <a:pt x="203" y="45"/>
                    <a:pt x="207" y="58"/>
                  </a:cubicBezTo>
                  <a:cubicBezTo>
                    <a:pt x="211" y="70"/>
                    <a:pt x="213" y="84"/>
                    <a:pt x="213" y="100"/>
                  </a:cubicBezTo>
                  <a:lnTo>
                    <a:pt x="213" y="234"/>
                  </a:lnTo>
                  <a:lnTo>
                    <a:pt x="149" y="234"/>
                  </a:lnTo>
                  <a:lnTo>
                    <a:pt x="149" y="209"/>
                  </a:lnTo>
                  <a:cubicBezTo>
                    <a:pt x="141" y="217"/>
                    <a:pt x="132" y="225"/>
                    <a:pt x="121" y="230"/>
                  </a:cubicBezTo>
                  <a:cubicBezTo>
                    <a:pt x="109" y="235"/>
                    <a:pt x="96" y="238"/>
                    <a:pt x="80" y="2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DD6C5540-7DB5-212A-BF5F-2AECD09EB8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8" y="364"/>
              <a:ext cx="26" cy="31"/>
            </a:xfrm>
            <a:custGeom>
              <a:avLst/>
              <a:gdLst>
                <a:gd name="T0" fmla="*/ 120 w 215"/>
                <a:gd name="T1" fmla="*/ 241 h 241"/>
                <a:gd name="T2" fmla="*/ 72 w 215"/>
                <a:gd name="T3" fmla="*/ 231 h 241"/>
                <a:gd name="T4" fmla="*/ 34 w 215"/>
                <a:gd name="T5" fmla="*/ 206 h 241"/>
                <a:gd name="T6" fmla="*/ 9 w 215"/>
                <a:gd name="T7" fmla="*/ 168 h 241"/>
                <a:gd name="T8" fmla="*/ 0 w 215"/>
                <a:gd name="T9" fmla="*/ 121 h 241"/>
                <a:gd name="T10" fmla="*/ 0 w 215"/>
                <a:gd name="T11" fmla="*/ 121 h 241"/>
                <a:gd name="T12" fmla="*/ 9 w 215"/>
                <a:gd name="T13" fmla="*/ 74 h 241"/>
                <a:gd name="T14" fmla="*/ 34 w 215"/>
                <a:gd name="T15" fmla="*/ 36 h 241"/>
                <a:gd name="T16" fmla="*/ 72 w 215"/>
                <a:gd name="T17" fmla="*/ 10 h 241"/>
                <a:gd name="T18" fmla="*/ 121 w 215"/>
                <a:gd name="T19" fmla="*/ 0 h 241"/>
                <a:gd name="T20" fmla="*/ 175 w 215"/>
                <a:gd name="T21" fmla="*/ 11 h 241"/>
                <a:gd name="T22" fmla="*/ 213 w 215"/>
                <a:gd name="T23" fmla="*/ 39 h 241"/>
                <a:gd name="T24" fmla="*/ 173 w 215"/>
                <a:gd name="T25" fmla="*/ 82 h 241"/>
                <a:gd name="T26" fmla="*/ 150 w 215"/>
                <a:gd name="T27" fmla="*/ 64 h 241"/>
                <a:gd name="T28" fmla="*/ 121 w 215"/>
                <a:gd name="T29" fmla="*/ 57 h 241"/>
                <a:gd name="T30" fmla="*/ 98 w 215"/>
                <a:gd name="T31" fmla="*/ 62 h 241"/>
                <a:gd name="T32" fmla="*/ 80 w 215"/>
                <a:gd name="T33" fmla="*/ 75 h 241"/>
                <a:gd name="T34" fmla="*/ 69 w 215"/>
                <a:gd name="T35" fmla="*/ 95 h 241"/>
                <a:gd name="T36" fmla="*/ 65 w 215"/>
                <a:gd name="T37" fmla="*/ 120 h 241"/>
                <a:gd name="T38" fmla="*/ 65 w 215"/>
                <a:gd name="T39" fmla="*/ 121 h 241"/>
                <a:gd name="T40" fmla="*/ 69 w 215"/>
                <a:gd name="T41" fmla="*/ 146 h 241"/>
                <a:gd name="T42" fmla="*/ 81 w 215"/>
                <a:gd name="T43" fmla="*/ 166 h 241"/>
                <a:gd name="T44" fmla="*/ 99 w 215"/>
                <a:gd name="T45" fmla="*/ 179 h 241"/>
                <a:gd name="T46" fmla="*/ 123 w 215"/>
                <a:gd name="T47" fmla="*/ 184 h 241"/>
                <a:gd name="T48" fmla="*/ 152 w 215"/>
                <a:gd name="T49" fmla="*/ 178 h 241"/>
                <a:gd name="T50" fmla="*/ 176 w 215"/>
                <a:gd name="T51" fmla="*/ 160 h 241"/>
                <a:gd name="T52" fmla="*/ 215 w 215"/>
                <a:gd name="T53" fmla="*/ 199 h 241"/>
                <a:gd name="T54" fmla="*/ 176 w 215"/>
                <a:gd name="T55" fmla="*/ 229 h 241"/>
                <a:gd name="T56" fmla="*/ 120 w 215"/>
                <a:gd name="T5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5" h="241">
                  <a:moveTo>
                    <a:pt x="120" y="241"/>
                  </a:moveTo>
                  <a:cubicBezTo>
                    <a:pt x="103" y="241"/>
                    <a:pt x="87" y="238"/>
                    <a:pt x="72" y="231"/>
                  </a:cubicBezTo>
                  <a:cubicBezTo>
                    <a:pt x="57" y="225"/>
                    <a:pt x="45" y="216"/>
                    <a:pt x="34" y="206"/>
                  </a:cubicBezTo>
                  <a:cubicBezTo>
                    <a:pt x="23" y="195"/>
                    <a:pt x="15" y="182"/>
                    <a:pt x="9" y="168"/>
                  </a:cubicBezTo>
                  <a:cubicBezTo>
                    <a:pt x="3" y="153"/>
                    <a:pt x="0" y="138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9" y="74"/>
                  </a:cubicBezTo>
                  <a:cubicBezTo>
                    <a:pt x="15" y="59"/>
                    <a:pt x="23" y="47"/>
                    <a:pt x="34" y="36"/>
                  </a:cubicBezTo>
                  <a:cubicBezTo>
                    <a:pt x="45" y="25"/>
                    <a:pt x="57" y="16"/>
                    <a:pt x="72" y="10"/>
                  </a:cubicBezTo>
                  <a:cubicBezTo>
                    <a:pt x="87" y="4"/>
                    <a:pt x="103" y="0"/>
                    <a:pt x="121" y="0"/>
                  </a:cubicBezTo>
                  <a:cubicBezTo>
                    <a:pt x="143" y="0"/>
                    <a:pt x="161" y="4"/>
                    <a:pt x="175" y="11"/>
                  </a:cubicBezTo>
                  <a:cubicBezTo>
                    <a:pt x="190" y="18"/>
                    <a:pt x="202" y="27"/>
                    <a:pt x="213" y="39"/>
                  </a:cubicBezTo>
                  <a:lnTo>
                    <a:pt x="173" y="82"/>
                  </a:lnTo>
                  <a:cubicBezTo>
                    <a:pt x="166" y="74"/>
                    <a:pt x="158" y="68"/>
                    <a:pt x="150" y="64"/>
                  </a:cubicBezTo>
                  <a:cubicBezTo>
                    <a:pt x="142" y="59"/>
                    <a:pt x="132" y="57"/>
                    <a:pt x="121" y="57"/>
                  </a:cubicBezTo>
                  <a:cubicBezTo>
                    <a:pt x="112" y="57"/>
                    <a:pt x="105" y="58"/>
                    <a:pt x="98" y="62"/>
                  </a:cubicBezTo>
                  <a:cubicBezTo>
                    <a:pt x="91" y="65"/>
                    <a:pt x="85" y="70"/>
                    <a:pt x="80" y="75"/>
                  </a:cubicBezTo>
                  <a:cubicBezTo>
                    <a:pt x="75" y="81"/>
                    <a:pt x="71" y="88"/>
                    <a:pt x="69" y="95"/>
                  </a:cubicBezTo>
                  <a:cubicBezTo>
                    <a:pt x="66" y="103"/>
                    <a:pt x="65" y="111"/>
                    <a:pt x="65" y="120"/>
                  </a:cubicBezTo>
                  <a:lnTo>
                    <a:pt x="65" y="121"/>
                  </a:lnTo>
                  <a:cubicBezTo>
                    <a:pt x="65" y="129"/>
                    <a:pt x="66" y="138"/>
                    <a:pt x="69" y="146"/>
                  </a:cubicBezTo>
                  <a:cubicBezTo>
                    <a:pt x="71" y="153"/>
                    <a:pt x="75" y="160"/>
                    <a:pt x="81" y="166"/>
                  </a:cubicBezTo>
                  <a:cubicBezTo>
                    <a:pt x="86" y="172"/>
                    <a:pt x="92" y="176"/>
                    <a:pt x="99" y="179"/>
                  </a:cubicBezTo>
                  <a:cubicBezTo>
                    <a:pt x="106" y="183"/>
                    <a:pt x="114" y="184"/>
                    <a:pt x="123" y="184"/>
                  </a:cubicBezTo>
                  <a:cubicBezTo>
                    <a:pt x="134" y="184"/>
                    <a:pt x="144" y="182"/>
                    <a:pt x="152" y="178"/>
                  </a:cubicBezTo>
                  <a:cubicBezTo>
                    <a:pt x="160" y="173"/>
                    <a:pt x="168" y="167"/>
                    <a:pt x="176" y="160"/>
                  </a:cubicBezTo>
                  <a:lnTo>
                    <a:pt x="215" y="199"/>
                  </a:lnTo>
                  <a:cubicBezTo>
                    <a:pt x="203" y="211"/>
                    <a:pt x="191" y="221"/>
                    <a:pt x="176" y="229"/>
                  </a:cubicBezTo>
                  <a:cubicBezTo>
                    <a:pt x="162" y="237"/>
                    <a:pt x="143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AA89B015-4383-F27B-74E2-CB0E967E82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0" y="354"/>
              <a:ext cx="8" cy="40"/>
            </a:xfrm>
            <a:custGeom>
              <a:avLst/>
              <a:gdLst>
                <a:gd name="T0" fmla="*/ 1 w 68"/>
                <a:gd name="T1" fmla="*/ 84 h 315"/>
                <a:gd name="T2" fmla="*/ 67 w 68"/>
                <a:gd name="T3" fmla="*/ 84 h 315"/>
                <a:gd name="T4" fmla="*/ 67 w 68"/>
                <a:gd name="T5" fmla="*/ 315 h 315"/>
                <a:gd name="T6" fmla="*/ 1 w 68"/>
                <a:gd name="T7" fmla="*/ 315 h 315"/>
                <a:gd name="T8" fmla="*/ 1 w 68"/>
                <a:gd name="T9" fmla="*/ 84 h 315"/>
                <a:gd name="T10" fmla="*/ 0 w 68"/>
                <a:gd name="T11" fmla="*/ 0 h 315"/>
                <a:gd name="T12" fmla="*/ 68 w 68"/>
                <a:gd name="T13" fmla="*/ 0 h 315"/>
                <a:gd name="T14" fmla="*/ 68 w 68"/>
                <a:gd name="T15" fmla="*/ 58 h 315"/>
                <a:gd name="T16" fmla="*/ 0 w 68"/>
                <a:gd name="T17" fmla="*/ 58 h 315"/>
                <a:gd name="T18" fmla="*/ 0 w 68"/>
                <a:gd name="T1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315">
                  <a:moveTo>
                    <a:pt x="1" y="84"/>
                  </a:moveTo>
                  <a:lnTo>
                    <a:pt x="67" y="84"/>
                  </a:lnTo>
                  <a:lnTo>
                    <a:pt x="67" y="315"/>
                  </a:lnTo>
                  <a:lnTo>
                    <a:pt x="1" y="315"/>
                  </a:lnTo>
                  <a:lnTo>
                    <a:pt x="1" y="84"/>
                  </a:lnTo>
                  <a:close/>
                  <a:moveTo>
                    <a:pt x="0" y="0"/>
                  </a:moveTo>
                  <a:lnTo>
                    <a:pt x="68" y="0"/>
                  </a:lnTo>
                  <a:lnTo>
                    <a:pt x="68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28">
              <a:extLst>
                <a:ext uri="{FF2B5EF4-FFF2-40B4-BE49-F238E27FC236}">
                  <a16:creationId xmlns:a16="http://schemas.microsoft.com/office/drawing/2014/main" id="{A710DF49-24D7-A8FA-64E8-70F1D61FB4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4" y="352"/>
              <a:ext cx="31" cy="43"/>
            </a:xfrm>
            <a:custGeom>
              <a:avLst/>
              <a:gdLst>
                <a:gd name="T0" fmla="*/ 149 w 250"/>
                <a:gd name="T1" fmla="*/ 0 h 338"/>
                <a:gd name="T2" fmla="*/ 205 w 250"/>
                <a:gd name="T3" fmla="*/ 25 h 338"/>
                <a:gd name="T4" fmla="*/ 150 w 250"/>
                <a:gd name="T5" fmla="*/ 76 h 338"/>
                <a:gd name="T6" fmla="*/ 100 w 250"/>
                <a:gd name="T7" fmla="*/ 76 h 338"/>
                <a:gd name="T8" fmla="*/ 149 w 250"/>
                <a:gd name="T9" fmla="*/ 0 h 338"/>
                <a:gd name="T10" fmla="*/ 126 w 250"/>
                <a:gd name="T11" fmla="*/ 281 h 338"/>
                <a:gd name="T12" fmla="*/ 151 w 250"/>
                <a:gd name="T13" fmla="*/ 276 h 338"/>
                <a:gd name="T14" fmla="*/ 169 w 250"/>
                <a:gd name="T15" fmla="*/ 263 h 338"/>
                <a:gd name="T16" fmla="*/ 181 w 250"/>
                <a:gd name="T17" fmla="*/ 243 h 338"/>
                <a:gd name="T18" fmla="*/ 185 w 250"/>
                <a:gd name="T19" fmla="*/ 218 h 338"/>
                <a:gd name="T20" fmla="*/ 185 w 250"/>
                <a:gd name="T21" fmla="*/ 218 h 338"/>
                <a:gd name="T22" fmla="*/ 181 w 250"/>
                <a:gd name="T23" fmla="*/ 193 h 338"/>
                <a:gd name="T24" fmla="*/ 169 w 250"/>
                <a:gd name="T25" fmla="*/ 173 h 338"/>
                <a:gd name="T26" fmla="*/ 149 w 250"/>
                <a:gd name="T27" fmla="*/ 159 h 338"/>
                <a:gd name="T28" fmla="*/ 125 w 250"/>
                <a:gd name="T29" fmla="*/ 154 h 338"/>
                <a:gd name="T30" fmla="*/ 99 w 250"/>
                <a:gd name="T31" fmla="*/ 159 h 338"/>
                <a:gd name="T32" fmla="*/ 81 w 250"/>
                <a:gd name="T33" fmla="*/ 172 h 338"/>
                <a:gd name="T34" fmla="*/ 69 w 250"/>
                <a:gd name="T35" fmla="*/ 192 h 338"/>
                <a:gd name="T36" fmla="*/ 65 w 250"/>
                <a:gd name="T37" fmla="*/ 217 h 338"/>
                <a:gd name="T38" fmla="*/ 65 w 250"/>
                <a:gd name="T39" fmla="*/ 218 h 338"/>
                <a:gd name="T40" fmla="*/ 69 w 250"/>
                <a:gd name="T41" fmla="*/ 242 h 338"/>
                <a:gd name="T42" fmla="*/ 82 w 250"/>
                <a:gd name="T43" fmla="*/ 262 h 338"/>
                <a:gd name="T44" fmla="*/ 101 w 250"/>
                <a:gd name="T45" fmla="*/ 276 h 338"/>
                <a:gd name="T46" fmla="*/ 126 w 250"/>
                <a:gd name="T47" fmla="*/ 281 h 338"/>
                <a:gd name="T48" fmla="*/ 125 w 250"/>
                <a:gd name="T49" fmla="*/ 338 h 338"/>
                <a:gd name="T50" fmla="*/ 75 w 250"/>
                <a:gd name="T51" fmla="*/ 328 h 338"/>
                <a:gd name="T52" fmla="*/ 36 w 250"/>
                <a:gd name="T53" fmla="*/ 303 h 338"/>
                <a:gd name="T54" fmla="*/ 10 w 250"/>
                <a:gd name="T55" fmla="*/ 265 h 338"/>
                <a:gd name="T56" fmla="*/ 0 w 250"/>
                <a:gd name="T57" fmla="*/ 218 h 338"/>
                <a:gd name="T58" fmla="*/ 0 w 250"/>
                <a:gd name="T59" fmla="*/ 218 h 338"/>
                <a:gd name="T60" fmla="*/ 10 w 250"/>
                <a:gd name="T61" fmla="*/ 171 h 338"/>
                <a:gd name="T62" fmla="*/ 36 w 250"/>
                <a:gd name="T63" fmla="*/ 133 h 338"/>
                <a:gd name="T64" fmla="*/ 76 w 250"/>
                <a:gd name="T65" fmla="*/ 107 h 338"/>
                <a:gd name="T66" fmla="*/ 126 w 250"/>
                <a:gd name="T67" fmla="*/ 97 h 338"/>
                <a:gd name="T68" fmla="*/ 175 w 250"/>
                <a:gd name="T69" fmla="*/ 107 h 338"/>
                <a:gd name="T70" fmla="*/ 214 w 250"/>
                <a:gd name="T71" fmla="*/ 132 h 338"/>
                <a:gd name="T72" fmla="*/ 241 w 250"/>
                <a:gd name="T73" fmla="*/ 170 h 338"/>
                <a:gd name="T74" fmla="*/ 250 w 250"/>
                <a:gd name="T75" fmla="*/ 217 h 338"/>
                <a:gd name="T76" fmla="*/ 250 w 250"/>
                <a:gd name="T77" fmla="*/ 218 h 338"/>
                <a:gd name="T78" fmla="*/ 241 w 250"/>
                <a:gd name="T79" fmla="*/ 264 h 338"/>
                <a:gd name="T80" fmla="*/ 214 w 250"/>
                <a:gd name="T81" fmla="*/ 302 h 338"/>
                <a:gd name="T82" fmla="*/ 175 w 250"/>
                <a:gd name="T83" fmla="*/ 328 h 338"/>
                <a:gd name="T84" fmla="*/ 125 w 250"/>
                <a:gd name="T85" fmla="*/ 33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0" h="338">
                  <a:moveTo>
                    <a:pt x="149" y="0"/>
                  </a:moveTo>
                  <a:lnTo>
                    <a:pt x="205" y="25"/>
                  </a:lnTo>
                  <a:lnTo>
                    <a:pt x="150" y="76"/>
                  </a:lnTo>
                  <a:lnTo>
                    <a:pt x="100" y="76"/>
                  </a:lnTo>
                  <a:lnTo>
                    <a:pt x="149" y="0"/>
                  </a:lnTo>
                  <a:close/>
                  <a:moveTo>
                    <a:pt x="126" y="281"/>
                  </a:moveTo>
                  <a:cubicBezTo>
                    <a:pt x="135" y="281"/>
                    <a:pt x="143" y="280"/>
                    <a:pt x="151" y="276"/>
                  </a:cubicBezTo>
                  <a:cubicBezTo>
                    <a:pt x="158" y="273"/>
                    <a:pt x="164" y="269"/>
                    <a:pt x="169" y="263"/>
                  </a:cubicBezTo>
                  <a:cubicBezTo>
                    <a:pt x="175" y="257"/>
                    <a:pt x="179" y="250"/>
                    <a:pt x="181" y="243"/>
                  </a:cubicBezTo>
                  <a:cubicBezTo>
                    <a:pt x="184" y="235"/>
                    <a:pt x="185" y="227"/>
                    <a:pt x="185" y="218"/>
                  </a:cubicBezTo>
                  <a:lnTo>
                    <a:pt x="185" y="218"/>
                  </a:lnTo>
                  <a:cubicBezTo>
                    <a:pt x="185" y="209"/>
                    <a:pt x="184" y="201"/>
                    <a:pt x="181" y="193"/>
                  </a:cubicBezTo>
                  <a:cubicBezTo>
                    <a:pt x="178" y="186"/>
                    <a:pt x="174" y="179"/>
                    <a:pt x="169" y="173"/>
                  </a:cubicBezTo>
                  <a:cubicBezTo>
                    <a:pt x="163" y="167"/>
                    <a:pt x="157" y="162"/>
                    <a:pt x="149" y="159"/>
                  </a:cubicBezTo>
                  <a:cubicBezTo>
                    <a:pt x="142" y="156"/>
                    <a:pt x="134" y="154"/>
                    <a:pt x="125" y="154"/>
                  </a:cubicBezTo>
                  <a:cubicBezTo>
                    <a:pt x="115" y="154"/>
                    <a:pt x="107" y="155"/>
                    <a:pt x="99" y="159"/>
                  </a:cubicBezTo>
                  <a:cubicBezTo>
                    <a:pt x="92" y="162"/>
                    <a:pt x="86" y="167"/>
                    <a:pt x="81" y="172"/>
                  </a:cubicBezTo>
                  <a:cubicBezTo>
                    <a:pt x="76" y="178"/>
                    <a:pt x="72" y="185"/>
                    <a:pt x="69" y="192"/>
                  </a:cubicBezTo>
                  <a:cubicBezTo>
                    <a:pt x="66" y="200"/>
                    <a:pt x="65" y="208"/>
                    <a:pt x="65" y="217"/>
                  </a:cubicBezTo>
                  <a:lnTo>
                    <a:pt x="65" y="218"/>
                  </a:lnTo>
                  <a:cubicBezTo>
                    <a:pt x="65" y="226"/>
                    <a:pt x="66" y="234"/>
                    <a:pt x="69" y="242"/>
                  </a:cubicBezTo>
                  <a:cubicBezTo>
                    <a:pt x="72" y="250"/>
                    <a:pt x="76" y="256"/>
                    <a:pt x="82" y="262"/>
                  </a:cubicBezTo>
                  <a:cubicBezTo>
                    <a:pt x="87" y="268"/>
                    <a:pt x="93" y="273"/>
                    <a:pt x="101" y="276"/>
                  </a:cubicBezTo>
                  <a:cubicBezTo>
                    <a:pt x="108" y="280"/>
                    <a:pt x="116" y="281"/>
                    <a:pt x="126" y="281"/>
                  </a:cubicBezTo>
                  <a:close/>
                  <a:moveTo>
                    <a:pt x="125" y="338"/>
                  </a:moveTo>
                  <a:cubicBezTo>
                    <a:pt x="107" y="338"/>
                    <a:pt x="90" y="335"/>
                    <a:pt x="75" y="328"/>
                  </a:cubicBezTo>
                  <a:cubicBezTo>
                    <a:pt x="60" y="322"/>
                    <a:pt x="47" y="314"/>
                    <a:pt x="36" y="303"/>
                  </a:cubicBezTo>
                  <a:cubicBezTo>
                    <a:pt x="25" y="292"/>
                    <a:pt x="16" y="280"/>
                    <a:pt x="10" y="265"/>
                  </a:cubicBezTo>
                  <a:cubicBezTo>
                    <a:pt x="3" y="251"/>
                    <a:pt x="0" y="235"/>
                    <a:pt x="0" y="218"/>
                  </a:cubicBezTo>
                  <a:lnTo>
                    <a:pt x="0" y="218"/>
                  </a:lnTo>
                  <a:cubicBezTo>
                    <a:pt x="0" y="201"/>
                    <a:pt x="3" y="185"/>
                    <a:pt x="10" y="171"/>
                  </a:cubicBezTo>
                  <a:cubicBezTo>
                    <a:pt x="16" y="156"/>
                    <a:pt x="25" y="144"/>
                    <a:pt x="36" y="133"/>
                  </a:cubicBezTo>
                  <a:cubicBezTo>
                    <a:pt x="47" y="122"/>
                    <a:pt x="60" y="113"/>
                    <a:pt x="76" y="107"/>
                  </a:cubicBezTo>
                  <a:cubicBezTo>
                    <a:pt x="91" y="101"/>
                    <a:pt x="107" y="97"/>
                    <a:pt x="126" y="97"/>
                  </a:cubicBezTo>
                  <a:cubicBezTo>
                    <a:pt x="143" y="97"/>
                    <a:pt x="160" y="100"/>
                    <a:pt x="175" y="107"/>
                  </a:cubicBezTo>
                  <a:cubicBezTo>
                    <a:pt x="190" y="113"/>
                    <a:pt x="203" y="121"/>
                    <a:pt x="214" y="132"/>
                  </a:cubicBezTo>
                  <a:cubicBezTo>
                    <a:pt x="226" y="143"/>
                    <a:pt x="234" y="155"/>
                    <a:pt x="241" y="170"/>
                  </a:cubicBezTo>
                  <a:cubicBezTo>
                    <a:pt x="247" y="184"/>
                    <a:pt x="250" y="200"/>
                    <a:pt x="250" y="217"/>
                  </a:cubicBezTo>
                  <a:lnTo>
                    <a:pt x="250" y="218"/>
                  </a:lnTo>
                  <a:cubicBezTo>
                    <a:pt x="250" y="234"/>
                    <a:pt x="247" y="250"/>
                    <a:pt x="241" y="264"/>
                  </a:cubicBezTo>
                  <a:cubicBezTo>
                    <a:pt x="234" y="279"/>
                    <a:pt x="225" y="292"/>
                    <a:pt x="214" y="302"/>
                  </a:cubicBezTo>
                  <a:cubicBezTo>
                    <a:pt x="203" y="313"/>
                    <a:pt x="190" y="322"/>
                    <a:pt x="175" y="328"/>
                  </a:cubicBezTo>
                  <a:cubicBezTo>
                    <a:pt x="159" y="335"/>
                    <a:pt x="143" y="338"/>
                    <a:pt x="125" y="3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29">
              <a:extLst>
                <a:ext uri="{FF2B5EF4-FFF2-40B4-BE49-F238E27FC236}">
                  <a16:creationId xmlns:a16="http://schemas.microsoft.com/office/drawing/2014/main" id="{67CD1F8B-949E-EC4F-212E-FDF6F25B9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" y="364"/>
              <a:ext cx="26" cy="30"/>
            </a:xfrm>
            <a:custGeom>
              <a:avLst/>
              <a:gdLst>
                <a:gd name="T0" fmla="*/ 0 w 212"/>
                <a:gd name="T1" fmla="*/ 5 h 236"/>
                <a:gd name="T2" fmla="*/ 66 w 212"/>
                <a:gd name="T3" fmla="*/ 5 h 236"/>
                <a:gd name="T4" fmla="*/ 66 w 212"/>
                <a:gd name="T5" fmla="*/ 38 h 236"/>
                <a:gd name="T6" fmla="*/ 78 w 212"/>
                <a:gd name="T7" fmla="*/ 24 h 236"/>
                <a:gd name="T8" fmla="*/ 93 w 212"/>
                <a:gd name="T9" fmla="*/ 12 h 236"/>
                <a:gd name="T10" fmla="*/ 111 w 212"/>
                <a:gd name="T11" fmla="*/ 3 h 236"/>
                <a:gd name="T12" fmla="*/ 134 w 212"/>
                <a:gd name="T13" fmla="*/ 0 h 236"/>
                <a:gd name="T14" fmla="*/ 191 w 212"/>
                <a:gd name="T15" fmla="*/ 23 h 236"/>
                <a:gd name="T16" fmla="*/ 212 w 212"/>
                <a:gd name="T17" fmla="*/ 86 h 236"/>
                <a:gd name="T18" fmla="*/ 212 w 212"/>
                <a:gd name="T19" fmla="*/ 236 h 236"/>
                <a:gd name="T20" fmla="*/ 146 w 212"/>
                <a:gd name="T21" fmla="*/ 236 h 236"/>
                <a:gd name="T22" fmla="*/ 146 w 212"/>
                <a:gd name="T23" fmla="*/ 107 h 236"/>
                <a:gd name="T24" fmla="*/ 136 w 212"/>
                <a:gd name="T25" fmla="*/ 72 h 236"/>
                <a:gd name="T26" fmla="*/ 107 w 212"/>
                <a:gd name="T27" fmla="*/ 60 h 236"/>
                <a:gd name="T28" fmla="*/ 77 w 212"/>
                <a:gd name="T29" fmla="*/ 72 h 236"/>
                <a:gd name="T30" fmla="*/ 66 w 212"/>
                <a:gd name="T31" fmla="*/ 107 h 236"/>
                <a:gd name="T32" fmla="*/ 66 w 212"/>
                <a:gd name="T33" fmla="*/ 236 h 236"/>
                <a:gd name="T34" fmla="*/ 0 w 212"/>
                <a:gd name="T35" fmla="*/ 236 h 236"/>
                <a:gd name="T36" fmla="*/ 0 w 212"/>
                <a:gd name="T37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2" h="236">
                  <a:moveTo>
                    <a:pt x="0" y="5"/>
                  </a:moveTo>
                  <a:lnTo>
                    <a:pt x="66" y="5"/>
                  </a:lnTo>
                  <a:lnTo>
                    <a:pt x="66" y="38"/>
                  </a:lnTo>
                  <a:cubicBezTo>
                    <a:pt x="70" y="33"/>
                    <a:pt x="74" y="28"/>
                    <a:pt x="78" y="24"/>
                  </a:cubicBezTo>
                  <a:cubicBezTo>
                    <a:pt x="83" y="19"/>
                    <a:pt x="88" y="15"/>
                    <a:pt x="93" y="12"/>
                  </a:cubicBezTo>
                  <a:cubicBezTo>
                    <a:pt x="98" y="8"/>
                    <a:pt x="105" y="5"/>
                    <a:pt x="111" y="3"/>
                  </a:cubicBezTo>
                  <a:cubicBezTo>
                    <a:pt x="118" y="1"/>
                    <a:pt x="125" y="0"/>
                    <a:pt x="134" y="0"/>
                  </a:cubicBezTo>
                  <a:cubicBezTo>
                    <a:pt x="159" y="0"/>
                    <a:pt x="178" y="8"/>
                    <a:pt x="191" y="23"/>
                  </a:cubicBezTo>
                  <a:cubicBezTo>
                    <a:pt x="205" y="38"/>
                    <a:pt x="212" y="59"/>
                    <a:pt x="212" y="86"/>
                  </a:cubicBezTo>
                  <a:lnTo>
                    <a:pt x="212" y="236"/>
                  </a:lnTo>
                  <a:lnTo>
                    <a:pt x="146" y="236"/>
                  </a:lnTo>
                  <a:lnTo>
                    <a:pt x="146" y="107"/>
                  </a:lnTo>
                  <a:cubicBezTo>
                    <a:pt x="146" y="92"/>
                    <a:pt x="143" y="80"/>
                    <a:pt x="136" y="72"/>
                  </a:cubicBezTo>
                  <a:cubicBezTo>
                    <a:pt x="129" y="64"/>
                    <a:pt x="119" y="60"/>
                    <a:pt x="107" y="60"/>
                  </a:cubicBezTo>
                  <a:cubicBezTo>
                    <a:pt x="94" y="60"/>
                    <a:pt x="84" y="64"/>
                    <a:pt x="77" y="72"/>
                  </a:cubicBezTo>
                  <a:cubicBezTo>
                    <a:pt x="70" y="80"/>
                    <a:pt x="66" y="92"/>
                    <a:pt x="66" y="107"/>
                  </a:cubicBezTo>
                  <a:lnTo>
                    <a:pt x="66" y="236"/>
                  </a:lnTo>
                  <a:lnTo>
                    <a:pt x="0" y="236"/>
                  </a:lnTo>
                  <a:lnTo>
                    <a:pt x="0" y="5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155F0D34-6750-806A-F97D-4C442EF26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" y="385"/>
              <a:ext cx="11" cy="18"/>
            </a:xfrm>
            <a:custGeom>
              <a:avLst/>
              <a:gdLst>
                <a:gd name="T0" fmla="*/ 0 w 85"/>
                <a:gd name="T1" fmla="*/ 111 h 138"/>
                <a:gd name="T2" fmla="*/ 42 w 85"/>
                <a:gd name="T3" fmla="*/ 69 h 138"/>
                <a:gd name="T4" fmla="*/ 15 w 85"/>
                <a:gd name="T5" fmla="*/ 69 h 138"/>
                <a:gd name="T6" fmla="*/ 15 w 85"/>
                <a:gd name="T7" fmla="*/ 0 h 138"/>
                <a:gd name="T8" fmla="*/ 85 w 85"/>
                <a:gd name="T9" fmla="*/ 0 h 138"/>
                <a:gd name="T10" fmla="*/ 85 w 85"/>
                <a:gd name="T11" fmla="*/ 58 h 138"/>
                <a:gd name="T12" fmla="*/ 64 w 85"/>
                <a:gd name="T13" fmla="*/ 119 h 138"/>
                <a:gd name="T14" fmla="*/ 5 w 85"/>
                <a:gd name="T15" fmla="*/ 138 h 138"/>
                <a:gd name="T16" fmla="*/ 0 w 85"/>
                <a:gd name="T17" fmla="*/ 111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138">
                  <a:moveTo>
                    <a:pt x="0" y="111"/>
                  </a:moveTo>
                  <a:cubicBezTo>
                    <a:pt x="30" y="108"/>
                    <a:pt x="44" y="94"/>
                    <a:pt x="42" y="69"/>
                  </a:cubicBezTo>
                  <a:lnTo>
                    <a:pt x="15" y="69"/>
                  </a:lnTo>
                  <a:lnTo>
                    <a:pt x="15" y="0"/>
                  </a:lnTo>
                  <a:lnTo>
                    <a:pt x="85" y="0"/>
                  </a:lnTo>
                  <a:lnTo>
                    <a:pt x="85" y="58"/>
                  </a:lnTo>
                  <a:cubicBezTo>
                    <a:pt x="85" y="86"/>
                    <a:pt x="78" y="107"/>
                    <a:pt x="64" y="119"/>
                  </a:cubicBezTo>
                  <a:cubicBezTo>
                    <a:pt x="50" y="132"/>
                    <a:pt x="31" y="138"/>
                    <a:pt x="5" y="138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Freeform 31">
              <a:extLst>
                <a:ext uri="{FF2B5EF4-FFF2-40B4-BE49-F238E27FC236}">
                  <a16:creationId xmlns:a16="http://schemas.microsoft.com/office/drawing/2014/main" id="{0C85611D-EE52-9F23-C276-942F95853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2" y="414"/>
              <a:ext cx="31" cy="38"/>
            </a:xfrm>
            <a:custGeom>
              <a:avLst/>
              <a:gdLst>
                <a:gd name="T0" fmla="*/ 11 w 31"/>
                <a:gd name="T1" fmla="*/ 7 h 38"/>
                <a:gd name="T2" fmla="*/ 0 w 31"/>
                <a:gd name="T3" fmla="*/ 7 h 38"/>
                <a:gd name="T4" fmla="*/ 0 w 31"/>
                <a:gd name="T5" fmla="*/ 0 h 38"/>
                <a:gd name="T6" fmla="*/ 31 w 31"/>
                <a:gd name="T7" fmla="*/ 0 h 38"/>
                <a:gd name="T8" fmla="*/ 31 w 31"/>
                <a:gd name="T9" fmla="*/ 7 h 38"/>
                <a:gd name="T10" fmla="*/ 19 w 31"/>
                <a:gd name="T11" fmla="*/ 7 h 38"/>
                <a:gd name="T12" fmla="*/ 19 w 31"/>
                <a:gd name="T13" fmla="*/ 38 h 38"/>
                <a:gd name="T14" fmla="*/ 11 w 31"/>
                <a:gd name="T15" fmla="*/ 38 h 38"/>
                <a:gd name="T16" fmla="*/ 11 w 31"/>
                <a:gd name="T17" fmla="*/ 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8">
                  <a:moveTo>
                    <a:pt x="11" y="7"/>
                  </a:moveTo>
                  <a:lnTo>
                    <a:pt x="0" y="7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7"/>
                  </a:lnTo>
                  <a:lnTo>
                    <a:pt x="19" y="7"/>
                  </a:lnTo>
                  <a:lnTo>
                    <a:pt x="19" y="38"/>
                  </a:lnTo>
                  <a:lnTo>
                    <a:pt x="11" y="38"/>
                  </a:lnTo>
                  <a:lnTo>
                    <a:pt x="11" y="7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" name="Freeform 32">
              <a:extLst>
                <a:ext uri="{FF2B5EF4-FFF2-40B4-BE49-F238E27FC236}">
                  <a16:creationId xmlns:a16="http://schemas.microsoft.com/office/drawing/2014/main" id="{00B66C85-259B-4E3F-454D-C0379F2CB7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8" y="422"/>
              <a:ext cx="17" cy="30"/>
            </a:xfrm>
            <a:custGeom>
              <a:avLst/>
              <a:gdLst>
                <a:gd name="T0" fmla="*/ 0 w 139"/>
                <a:gd name="T1" fmla="*/ 5 h 236"/>
                <a:gd name="T2" fmla="*/ 65 w 139"/>
                <a:gd name="T3" fmla="*/ 5 h 236"/>
                <a:gd name="T4" fmla="*/ 65 w 139"/>
                <a:gd name="T5" fmla="*/ 52 h 236"/>
                <a:gd name="T6" fmla="*/ 92 w 139"/>
                <a:gd name="T7" fmla="*/ 14 h 236"/>
                <a:gd name="T8" fmla="*/ 139 w 139"/>
                <a:gd name="T9" fmla="*/ 1 h 236"/>
                <a:gd name="T10" fmla="*/ 139 w 139"/>
                <a:gd name="T11" fmla="*/ 69 h 236"/>
                <a:gd name="T12" fmla="*/ 136 w 139"/>
                <a:gd name="T13" fmla="*/ 69 h 236"/>
                <a:gd name="T14" fmla="*/ 84 w 139"/>
                <a:gd name="T15" fmla="*/ 89 h 236"/>
                <a:gd name="T16" fmla="*/ 65 w 139"/>
                <a:gd name="T17" fmla="*/ 151 h 236"/>
                <a:gd name="T18" fmla="*/ 65 w 139"/>
                <a:gd name="T19" fmla="*/ 236 h 236"/>
                <a:gd name="T20" fmla="*/ 0 w 139"/>
                <a:gd name="T21" fmla="*/ 236 h 236"/>
                <a:gd name="T22" fmla="*/ 0 w 139"/>
                <a:gd name="T23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236">
                  <a:moveTo>
                    <a:pt x="0" y="5"/>
                  </a:moveTo>
                  <a:lnTo>
                    <a:pt x="65" y="5"/>
                  </a:lnTo>
                  <a:lnTo>
                    <a:pt x="65" y="52"/>
                  </a:lnTo>
                  <a:cubicBezTo>
                    <a:pt x="72" y="36"/>
                    <a:pt x="81" y="23"/>
                    <a:pt x="92" y="14"/>
                  </a:cubicBezTo>
                  <a:cubicBezTo>
                    <a:pt x="104" y="4"/>
                    <a:pt x="119" y="0"/>
                    <a:pt x="139" y="1"/>
                  </a:cubicBezTo>
                  <a:lnTo>
                    <a:pt x="139" y="69"/>
                  </a:lnTo>
                  <a:lnTo>
                    <a:pt x="136" y="69"/>
                  </a:lnTo>
                  <a:cubicBezTo>
                    <a:pt x="114" y="69"/>
                    <a:pt x="97" y="76"/>
                    <a:pt x="84" y="89"/>
                  </a:cubicBezTo>
                  <a:cubicBezTo>
                    <a:pt x="72" y="102"/>
                    <a:pt x="65" y="123"/>
                    <a:pt x="65" y="151"/>
                  </a:cubicBezTo>
                  <a:lnTo>
                    <a:pt x="65" y="236"/>
                  </a:lnTo>
                  <a:lnTo>
                    <a:pt x="0" y="236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Freeform 33">
              <a:extLst>
                <a:ext uri="{FF2B5EF4-FFF2-40B4-BE49-F238E27FC236}">
                  <a16:creationId xmlns:a16="http://schemas.microsoft.com/office/drawing/2014/main" id="{913A3E3F-94F0-41BC-E894-2322488ED1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9" y="422"/>
              <a:ext cx="26" cy="30"/>
            </a:xfrm>
            <a:custGeom>
              <a:avLst/>
              <a:gdLst>
                <a:gd name="T0" fmla="*/ 99 w 213"/>
                <a:gd name="T1" fmla="*/ 192 h 237"/>
                <a:gd name="T2" fmla="*/ 136 w 213"/>
                <a:gd name="T3" fmla="*/ 181 h 237"/>
                <a:gd name="T4" fmla="*/ 150 w 213"/>
                <a:gd name="T5" fmla="*/ 152 h 237"/>
                <a:gd name="T6" fmla="*/ 150 w 213"/>
                <a:gd name="T7" fmla="*/ 140 h 237"/>
                <a:gd name="T8" fmla="*/ 131 w 213"/>
                <a:gd name="T9" fmla="*/ 134 h 237"/>
                <a:gd name="T10" fmla="*/ 109 w 213"/>
                <a:gd name="T11" fmla="*/ 131 h 237"/>
                <a:gd name="T12" fmla="*/ 76 w 213"/>
                <a:gd name="T13" fmla="*/ 140 h 237"/>
                <a:gd name="T14" fmla="*/ 63 w 213"/>
                <a:gd name="T15" fmla="*/ 163 h 237"/>
                <a:gd name="T16" fmla="*/ 63 w 213"/>
                <a:gd name="T17" fmla="*/ 164 h 237"/>
                <a:gd name="T18" fmla="*/ 73 w 213"/>
                <a:gd name="T19" fmla="*/ 185 h 237"/>
                <a:gd name="T20" fmla="*/ 99 w 213"/>
                <a:gd name="T21" fmla="*/ 192 h 237"/>
                <a:gd name="T22" fmla="*/ 79 w 213"/>
                <a:gd name="T23" fmla="*/ 237 h 237"/>
                <a:gd name="T24" fmla="*/ 49 w 213"/>
                <a:gd name="T25" fmla="*/ 233 h 237"/>
                <a:gd name="T26" fmla="*/ 23 w 213"/>
                <a:gd name="T27" fmla="*/ 219 h 237"/>
                <a:gd name="T28" fmla="*/ 6 w 213"/>
                <a:gd name="T29" fmla="*/ 197 h 237"/>
                <a:gd name="T30" fmla="*/ 0 w 213"/>
                <a:gd name="T31" fmla="*/ 167 h 237"/>
                <a:gd name="T32" fmla="*/ 0 w 213"/>
                <a:gd name="T33" fmla="*/ 166 h 237"/>
                <a:gd name="T34" fmla="*/ 7 w 213"/>
                <a:gd name="T35" fmla="*/ 133 h 237"/>
                <a:gd name="T36" fmla="*/ 26 w 213"/>
                <a:gd name="T37" fmla="*/ 110 h 237"/>
                <a:gd name="T38" fmla="*/ 55 w 213"/>
                <a:gd name="T39" fmla="*/ 97 h 237"/>
                <a:gd name="T40" fmla="*/ 93 w 213"/>
                <a:gd name="T41" fmla="*/ 92 h 237"/>
                <a:gd name="T42" fmla="*/ 124 w 213"/>
                <a:gd name="T43" fmla="*/ 95 h 237"/>
                <a:gd name="T44" fmla="*/ 150 w 213"/>
                <a:gd name="T45" fmla="*/ 102 h 237"/>
                <a:gd name="T46" fmla="*/ 150 w 213"/>
                <a:gd name="T47" fmla="*/ 98 h 237"/>
                <a:gd name="T48" fmla="*/ 137 w 213"/>
                <a:gd name="T49" fmla="*/ 66 h 237"/>
                <a:gd name="T50" fmla="*/ 100 w 213"/>
                <a:gd name="T51" fmla="*/ 56 h 237"/>
                <a:gd name="T52" fmla="*/ 67 w 213"/>
                <a:gd name="T53" fmla="*/ 59 h 237"/>
                <a:gd name="T54" fmla="*/ 36 w 213"/>
                <a:gd name="T55" fmla="*/ 68 h 237"/>
                <a:gd name="T56" fmla="*/ 20 w 213"/>
                <a:gd name="T57" fmla="*/ 18 h 237"/>
                <a:gd name="T58" fmla="*/ 60 w 213"/>
                <a:gd name="T59" fmla="*/ 5 h 237"/>
                <a:gd name="T60" fmla="*/ 110 w 213"/>
                <a:gd name="T61" fmla="*/ 0 h 237"/>
                <a:gd name="T62" fmla="*/ 156 w 213"/>
                <a:gd name="T63" fmla="*/ 6 h 237"/>
                <a:gd name="T64" fmla="*/ 188 w 213"/>
                <a:gd name="T65" fmla="*/ 26 h 237"/>
                <a:gd name="T66" fmla="*/ 206 w 213"/>
                <a:gd name="T67" fmla="*/ 57 h 237"/>
                <a:gd name="T68" fmla="*/ 213 w 213"/>
                <a:gd name="T69" fmla="*/ 99 h 237"/>
                <a:gd name="T70" fmla="*/ 213 w 213"/>
                <a:gd name="T71" fmla="*/ 233 h 237"/>
                <a:gd name="T72" fmla="*/ 149 w 213"/>
                <a:gd name="T73" fmla="*/ 233 h 237"/>
                <a:gd name="T74" fmla="*/ 149 w 213"/>
                <a:gd name="T75" fmla="*/ 208 h 237"/>
                <a:gd name="T76" fmla="*/ 120 w 213"/>
                <a:gd name="T77" fmla="*/ 230 h 237"/>
                <a:gd name="T78" fmla="*/ 79 w 213"/>
                <a:gd name="T79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3" h="237">
                  <a:moveTo>
                    <a:pt x="99" y="192"/>
                  </a:moveTo>
                  <a:cubicBezTo>
                    <a:pt x="115" y="192"/>
                    <a:pt x="127" y="189"/>
                    <a:pt x="136" y="181"/>
                  </a:cubicBezTo>
                  <a:cubicBezTo>
                    <a:pt x="146" y="174"/>
                    <a:pt x="150" y="164"/>
                    <a:pt x="150" y="152"/>
                  </a:cubicBezTo>
                  <a:lnTo>
                    <a:pt x="150" y="140"/>
                  </a:lnTo>
                  <a:cubicBezTo>
                    <a:pt x="145" y="138"/>
                    <a:pt x="138" y="135"/>
                    <a:pt x="131" y="134"/>
                  </a:cubicBezTo>
                  <a:cubicBezTo>
                    <a:pt x="124" y="132"/>
                    <a:pt x="117" y="131"/>
                    <a:pt x="109" y="131"/>
                  </a:cubicBezTo>
                  <a:cubicBezTo>
                    <a:pt x="95" y="131"/>
                    <a:pt x="84" y="134"/>
                    <a:pt x="76" y="140"/>
                  </a:cubicBezTo>
                  <a:cubicBezTo>
                    <a:pt x="67" y="145"/>
                    <a:pt x="63" y="153"/>
                    <a:pt x="63" y="163"/>
                  </a:cubicBezTo>
                  <a:lnTo>
                    <a:pt x="63" y="164"/>
                  </a:lnTo>
                  <a:cubicBezTo>
                    <a:pt x="63" y="173"/>
                    <a:pt x="67" y="180"/>
                    <a:pt x="73" y="185"/>
                  </a:cubicBezTo>
                  <a:cubicBezTo>
                    <a:pt x="80" y="190"/>
                    <a:pt x="89" y="192"/>
                    <a:pt x="99" y="192"/>
                  </a:cubicBezTo>
                  <a:close/>
                  <a:moveTo>
                    <a:pt x="79" y="237"/>
                  </a:moveTo>
                  <a:cubicBezTo>
                    <a:pt x="68" y="237"/>
                    <a:pt x="58" y="236"/>
                    <a:pt x="49" y="233"/>
                  </a:cubicBezTo>
                  <a:cubicBezTo>
                    <a:pt x="39" y="230"/>
                    <a:pt x="31" y="225"/>
                    <a:pt x="23" y="219"/>
                  </a:cubicBezTo>
                  <a:cubicBezTo>
                    <a:pt x="16" y="213"/>
                    <a:pt x="11" y="206"/>
                    <a:pt x="6" y="197"/>
                  </a:cubicBezTo>
                  <a:cubicBezTo>
                    <a:pt x="2" y="188"/>
                    <a:pt x="0" y="178"/>
                    <a:pt x="0" y="167"/>
                  </a:cubicBezTo>
                  <a:lnTo>
                    <a:pt x="0" y="166"/>
                  </a:lnTo>
                  <a:cubicBezTo>
                    <a:pt x="0" y="153"/>
                    <a:pt x="2" y="142"/>
                    <a:pt x="7" y="133"/>
                  </a:cubicBezTo>
                  <a:cubicBezTo>
                    <a:pt x="12" y="124"/>
                    <a:pt x="18" y="116"/>
                    <a:pt x="26" y="110"/>
                  </a:cubicBezTo>
                  <a:cubicBezTo>
                    <a:pt x="34" y="104"/>
                    <a:pt x="44" y="100"/>
                    <a:pt x="55" y="97"/>
                  </a:cubicBezTo>
                  <a:cubicBezTo>
                    <a:pt x="67" y="94"/>
                    <a:pt x="79" y="92"/>
                    <a:pt x="93" y="92"/>
                  </a:cubicBezTo>
                  <a:cubicBezTo>
                    <a:pt x="105" y="92"/>
                    <a:pt x="115" y="93"/>
                    <a:pt x="124" y="95"/>
                  </a:cubicBezTo>
                  <a:cubicBezTo>
                    <a:pt x="133" y="97"/>
                    <a:pt x="141" y="99"/>
                    <a:pt x="150" y="102"/>
                  </a:cubicBezTo>
                  <a:lnTo>
                    <a:pt x="150" y="98"/>
                  </a:lnTo>
                  <a:cubicBezTo>
                    <a:pt x="150" y="84"/>
                    <a:pt x="145" y="74"/>
                    <a:pt x="137" y="66"/>
                  </a:cubicBezTo>
                  <a:cubicBezTo>
                    <a:pt x="129" y="59"/>
                    <a:pt x="116" y="56"/>
                    <a:pt x="100" y="56"/>
                  </a:cubicBezTo>
                  <a:cubicBezTo>
                    <a:pt x="87" y="56"/>
                    <a:pt x="76" y="57"/>
                    <a:pt x="67" y="59"/>
                  </a:cubicBezTo>
                  <a:cubicBezTo>
                    <a:pt x="57" y="61"/>
                    <a:pt x="47" y="64"/>
                    <a:pt x="36" y="68"/>
                  </a:cubicBezTo>
                  <a:lnTo>
                    <a:pt x="20" y="18"/>
                  </a:lnTo>
                  <a:cubicBezTo>
                    <a:pt x="33" y="13"/>
                    <a:pt x="46" y="8"/>
                    <a:pt x="60" y="5"/>
                  </a:cubicBezTo>
                  <a:cubicBezTo>
                    <a:pt x="73" y="1"/>
                    <a:pt x="90" y="0"/>
                    <a:pt x="110" y="0"/>
                  </a:cubicBezTo>
                  <a:cubicBezTo>
                    <a:pt x="128" y="0"/>
                    <a:pt x="143" y="2"/>
                    <a:pt x="156" y="6"/>
                  </a:cubicBezTo>
                  <a:cubicBezTo>
                    <a:pt x="169" y="11"/>
                    <a:pt x="179" y="17"/>
                    <a:pt x="188" y="26"/>
                  </a:cubicBezTo>
                  <a:cubicBezTo>
                    <a:pt x="196" y="34"/>
                    <a:pt x="202" y="45"/>
                    <a:pt x="206" y="57"/>
                  </a:cubicBezTo>
                  <a:cubicBezTo>
                    <a:pt x="211" y="70"/>
                    <a:pt x="213" y="84"/>
                    <a:pt x="213" y="99"/>
                  </a:cubicBezTo>
                  <a:lnTo>
                    <a:pt x="213" y="233"/>
                  </a:lnTo>
                  <a:lnTo>
                    <a:pt x="149" y="233"/>
                  </a:lnTo>
                  <a:lnTo>
                    <a:pt x="149" y="208"/>
                  </a:lnTo>
                  <a:cubicBezTo>
                    <a:pt x="141" y="217"/>
                    <a:pt x="132" y="224"/>
                    <a:pt x="120" y="230"/>
                  </a:cubicBezTo>
                  <a:cubicBezTo>
                    <a:pt x="109" y="235"/>
                    <a:pt x="95" y="237"/>
                    <a:pt x="79" y="237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Freeform 34">
              <a:extLst>
                <a:ext uri="{FF2B5EF4-FFF2-40B4-BE49-F238E27FC236}">
                  <a16:creationId xmlns:a16="http://schemas.microsoft.com/office/drawing/2014/main" id="{9D44636F-3B47-3A44-CD88-82D25B0588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2" y="422"/>
              <a:ext cx="26" cy="30"/>
            </a:xfrm>
            <a:custGeom>
              <a:avLst/>
              <a:gdLst>
                <a:gd name="T0" fmla="*/ 0 w 211"/>
                <a:gd name="T1" fmla="*/ 4 h 235"/>
                <a:gd name="T2" fmla="*/ 65 w 211"/>
                <a:gd name="T3" fmla="*/ 4 h 235"/>
                <a:gd name="T4" fmla="*/ 65 w 211"/>
                <a:gd name="T5" fmla="*/ 37 h 235"/>
                <a:gd name="T6" fmla="*/ 78 w 211"/>
                <a:gd name="T7" fmla="*/ 23 h 235"/>
                <a:gd name="T8" fmla="*/ 93 w 211"/>
                <a:gd name="T9" fmla="*/ 11 h 235"/>
                <a:gd name="T10" fmla="*/ 111 w 211"/>
                <a:gd name="T11" fmla="*/ 3 h 235"/>
                <a:gd name="T12" fmla="*/ 133 w 211"/>
                <a:gd name="T13" fmla="*/ 0 h 235"/>
                <a:gd name="T14" fmla="*/ 191 w 211"/>
                <a:gd name="T15" fmla="*/ 23 h 235"/>
                <a:gd name="T16" fmla="*/ 211 w 211"/>
                <a:gd name="T17" fmla="*/ 86 h 235"/>
                <a:gd name="T18" fmla="*/ 211 w 211"/>
                <a:gd name="T19" fmla="*/ 235 h 235"/>
                <a:gd name="T20" fmla="*/ 146 w 211"/>
                <a:gd name="T21" fmla="*/ 235 h 235"/>
                <a:gd name="T22" fmla="*/ 146 w 211"/>
                <a:gd name="T23" fmla="*/ 107 h 235"/>
                <a:gd name="T24" fmla="*/ 136 w 211"/>
                <a:gd name="T25" fmla="*/ 72 h 235"/>
                <a:gd name="T26" fmla="*/ 106 w 211"/>
                <a:gd name="T27" fmla="*/ 60 h 235"/>
                <a:gd name="T28" fmla="*/ 76 w 211"/>
                <a:gd name="T29" fmla="*/ 72 h 235"/>
                <a:gd name="T30" fmla="*/ 65 w 211"/>
                <a:gd name="T31" fmla="*/ 107 h 235"/>
                <a:gd name="T32" fmla="*/ 65 w 211"/>
                <a:gd name="T33" fmla="*/ 235 h 235"/>
                <a:gd name="T34" fmla="*/ 0 w 211"/>
                <a:gd name="T35" fmla="*/ 235 h 235"/>
                <a:gd name="T36" fmla="*/ 0 w 211"/>
                <a:gd name="T37" fmla="*/ 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1" h="235">
                  <a:moveTo>
                    <a:pt x="0" y="4"/>
                  </a:moveTo>
                  <a:lnTo>
                    <a:pt x="65" y="4"/>
                  </a:lnTo>
                  <a:lnTo>
                    <a:pt x="65" y="37"/>
                  </a:lnTo>
                  <a:cubicBezTo>
                    <a:pt x="69" y="32"/>
                    <a:pt x="73" y="28"/>
                    <a:pt x="78" y="23"/>
                  </a:cubicBezTo>
                  <a:cubicBezTo>
                    <a:pt x="82" y="19"/>
                    <a:pt x="87" y="15"/>
                    <a:pt x="93" y="11"/>
                  </a:cubicBezTo>
                  <a:cubicBezTo>
                    <a:pt x="98" y="8"/>
                    <a:pt x="104" y="5"/>
                    <a:pt x="111" y="3"/>
                  </a:cubicBezTo>
                  <a:cubicBezTo>
                    <a:pt x="117" y="1"/>
                    <a:pt x="125" y="0"/>
                    <a:pt x="133" y="0"/>
                  </a:cubicBezTo>
                  <a:cubicBezTo>
                    <a:pt x="158" y="0"/>
                    <a:pt x="177" y="8"/>
                    <a:pt x="191" y="23"/>
                  </a:cubicBezTo>
                  <a:cubicBezTo>
                    <a:pt x="205" y="38"/>
                    <a:pt x="211" y="59"/>
                    <a:pt x="211" y="86"/>
                  </a:cubicBezTo>
                  <a:lnTo>
                    <a:pt x="211" y="235"/>
                  </a:lnTo>
                  <a:lnTo>
                    <a:pt x="146" y="235"/>
                  </a:lnTo>
                  <a:lnTo>
                    <a:pt x="146" y="107"/>
                  </a:lnTo>
                  <a:cubicBezTo>
                    <a:pt x="146" y="91"/>
                    <a:pt x="143" y="80"/>
                    <a:pt x="136" y="72"/>
                  </a:cubicBezTo>
                  <a:cubicBezTo>
                    <a:pt x="129" y="64"/>
                    <a:pt x="119" y="60"/>
                    <a:pt x="106" y="60"/>
                  </a:cubicBezTo>
                  <a:cubicBezTo>
                    <a:pt x="94" y="60"/>
                    <a:pt x="84" y="64"/>
                    <a:pt x="76" y="72"/>
                  </a:cubicBezTo>
                  <a:cubicBezTo>
                    <a:pt x="69" y="80"/>
                    <a:pt x="65" y="91"/>
                    <a:pt x="65" y="107"/>
                  </a:cubicBezTo>
                  <a:lnTo>
                    <a:pt x="65" y="235"/>
                  </a:lnTo>
                  <a:lnTo>
                    <a:pt x="0" y="235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0" name="Freeform 35">
              <a:extLst>
                <a:ext uri="{FF2B5EF4-FFF2-40B4-BE49-F238E27FC236}">
                  <a16:creationId xmlns:a16="http://schemas.microsoft.com/office/drawing/2014/main" id="{A47DF151-15A6-742E-B792-5525C7F82B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3" y="422"/>
              <a:ext cx="23" cy="30"/>
            </a:xfrm>
            <a:custGeom>
              <a:avLst/>
              <a:gdLst>
                <a:gd name="T0" fmla="*/ 99 w 188"/>
                <a:gd name="T1" fmla="*/ 238 h 238"/>
                <a:gd name="T2" fmla="*/ 49 w 188"/>
                <a:gd name="T3" fmla="*/ 230 h 238"/>
                <a:gd name="T4" fmla="*/ 0 w 188"/>
                <a:gd name="T5" fmla="*/ 204 h 238"/>
                <a:gd name="T6" fmla="*/ 28 w 188"/>
                <a:gd name="T7" fmla="*/ 161 h 238"/>
                <a:gd name="T8" fmla="*/ 66 w 188"/>
                <a:gd name="T9" fmla="*/ 181 h 238"/>
                <a:gd name="T10" fmla="*/ 101 w 188"/>
                <a:gd name="T11" fmla="*/ 188 h 238"/>
                <a:gd name="T12" fmla="*/ 122 w 188"/>
                <a:gd name="T13" fmla="*/ 183 h 238"/>
                <a:gd name="T14" fmla="*/ 129 w 188"/>
                <a:gd name="T15" fmla="*/ 171 h 238"/>
                <a:gd name="T16" fmla="*/ 129 w 188"/>
                <a:gd name="T17" fmla="*/ 170 h 238"/>
                <a:gd name="T18" fmla="*/ 125 w 188"/>
                <a:gd name="T19" fmla="*/ 161 h 238"/>
                <a:gd name="T20" fmla="*/ 114 w 188"/>
                <a:gd name="T21" fmla="*/ 154 h 238"/>
                <a:gd name="T22" fmla="*/ 99 w 188"/>
                <a:gd name="T23" fmla="*/ 149 h 238"/>
                <a:gd name="T24" fmla="*/ 81 w 188"/>
                <a:gd name="T25" fmla="*/ 143 h 238"/>
                <a:gd name="T26" fmla="*/ 56 w 188"/>
                <a:gd name="T27" fmla="*/ 135 h 238"/>
                <a:gd name="T28" fmla="*/ 34 w 188"/>
                <a:gd name="T29" fmla="*/ 122 h 238"/>
                <a:gd name="T30" fmla="*/ 18 w 188"/>
                <a:gd name="T31" fmla="*/ 102 h 238"/>
                <a:gd name="T32" fmla="*/ 12 w 188"/>
                <a:gd name="T33" fmla="*/ 74 h 238"/>
                <a:gd name="T34" fmla="*/ 12 w 188"/>
                <a:gd name="T35" fmla="*/ 73 h 238"/>
                <a:gd name="T36" fmla="*/ 19 w 188"/>
                <a:gd name="T37" fmla="*/ 42 h 238"/>
                <a:gd name="T38" fmla="*/ 37 w 188"/>
                <a:gd name="T39" fmla="*/ 19 h 238"/>
                <a:gd name="T40" fmla="*/ 63 w 188"/>
                <a:gd name="T41" fmla="*/ 5 h 238"/>
                <a:gd name="T42" fmla="*/ 96 w 188"/>
                <a:gd name="T43" fmla="*/ 0 h 238"/>
                <a:gd name="T44" fmla="*/ 141 w 188"/>
                <a:gd name="T45" fmla="*/ 7 h 238"/>
                <a:gd name="T46" fmla="*/ 182 w 188"/>
                <a:gd name="T47" fmla="*/ 27 h 238"/>
                <a:gd name="T48" fmla="*/ 158 w 188"/>
                <a:gd name="T49" fmla="*/ 72 h 238"/>
                <a:gd name="T50" fmla="*/ 124 w 188"/>
                <a:gd name="T51" fmla="*/ 56 h 238"/>
                <a:gd name="T52" fmla="*/ 95 w 188"/>
                <a:gd name="T53" fmla="*/ 50 h 238"/>
                <a:gd name="T54" fmla="*/ 77 w 188"/>
                <a:gd name="T55" fmla="*/ 55 h 238"/>
                <a:gd name="T56" fmla="*/ 71 w 188"/>
                <a:gd name="T57" fmla="*/ 66 h 238"/>
                <a:gd name="T58" fmla="*/ 71 w 188"/>
                <a:gd name="T59" fmla="*/ 67 h 238"/>
                <a:gd name="T60" fmla="*/ 75 w 188"/>
                <a:gd name="T61" fmla="*/ 75 h 238"/>
                <a:gd name="T62" fmla="*/ 85 w 188"/>
                <a:gd name="T63" fmla="*/ 82 h 238"/>
                <a:gd name="T64" fmla="*/ 100 w 188"/>
                <a:gd name="T65" fmla="*/ 89 h 238"/>
                <a:gd name="T66" fmla="*/ 118 w 188"/>
                <a:gd name="T67" fmla="*/ 95 h 238"/>
                <a:gd name="T68" fmla="*/ 142 w 188"/>
                <a:gd name="T69" fmla="*/ 104 h 238"/>
                <a:gd name="T70" fmla="*/ 165 w 188"/>
                <a:gd name="T71" fmla="*/ 117 h 238"/>
                <a:gd name="T72" fmla="*/ 181 w 188"/>
                <a:gd name="T73" fmla="*/ 136 h 238"/>
                <a:gd name="T74" fmla="*/ 188 w 188"/>
                <a:gd name="T75" fmla="*/ 163 h 238"/>
                <a:gd name="T76" fmla="*/ 188 w 188"/>
                <a:gd name="T77" fmla="*/ 164 h 238"/>
                <a:gd name="T78" fmla="*/ 181 w 188"/>
                <a:gd name="T79" fmla="*/ 197 h 238"/>
                <a:gd name="T80" fmla="*/ 162 w 188"/>
                <a:gd name="T81" fmla="*/ 220 h 238"/>
                <a:gd name="T82" fmla="*/ 134 w 188"/>
                <a:gd name="T83" fmla="*/ 234 h 238"/>
                <a:gd name="T84" fmla="*/ 99 w 188"/>
                <a:gd name="T85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8" h="238">
                  <a:moveTo>
                    <a:pt x="99" y="238"/>
                  </a:moveTo>
                  <a:cubicBezTo>
                    <a:pt x="83" y="238"/>
                    <a:pt x="66" y="236"/>
                    <a:pt x="49" y="230"/>
                  </a:cubicBezTo>
                  <a:cubicBezTo>
                    <a:pt x="32" y="224"/>
                    <a:pt x="16" y="216"/>
                    <a:pt x="0" y="204"/>
                  </a:cubicBezTo>
                  <a:lnTo>
                    <a:pt x="28" y="161"/>
                  </a:lnTo>
                  <a:cubicBezTo>
                    <a:pt x="41" y="170"/>
                    <a:pt x="53" y="177"/>
                    <a:pt x="66" y="181"/>
                  </a:cubicBezTo>
                  <a:cubicBezTo>
                    <a:pt x="78" y="186"/>
                    <a:pt x="90" y="188"/>
                    <a:pt x="101" y="188"/>
                  </a:cubicBezTo>
                  <a:cubicBezTo>
                    <a:pt x="111" y="188"/>
                    <a:pt x="118" y="186"/>
                    <a:pt x="122" y="183"/>
                  </a:cubicBezTo>
                  <a:cubicBezTo>
                    <a:pt x="126" y="180"/>
                    <a:pt x="129" y="176"/>
                    <a:pt x="129" y="171"/>
                  </a:cubicBezTo>
                  <a:lnTo>
                    <a:pt x="129" y="170"/>
                  </a:lnTo>
                  <a:cubicBezTo>
                    <a:pt x="129" y="167"/>
                    <a:pt x="127" y="164"/>
                    <a:pt x="125" y="161"/>
                  </a:cubicBezTo>
                  <a:cubicBezTo>
                    <a:pt x="122" y="158"/>
                    <a:pt x="119" y="156"/>
                    <a:pt x="114" y="154"/>
                  </a:cubicBezTo>
                  <a:cubicBezTo>
                    <a:pt x="110" y="152"/>
                    <a:pt x="105" y="151"/>
                    <a:pt x="99" y="149"/>
                  </a:cubicBezTo>
                  <a:cubicBezTo>
                    <a:pt x="93" y="147"/>
                    <a:pt x="87" y="145"/>
                    <a:pt x="81" y="143"/>
                  </a:cubicBezTo>
                  <a:cubicBezTo>
                    <a:pt x="73" y="141"/>
                    <a:pt x="65" y="138"/>
                    <a:pt x="56" y="135"/>
                  </a:cubicBezTo>
                  <a:cubicBezTo>
                    <a:pt x="48" y="132"/>
                    <a:pt x="41" y="127"/>
                    <a:pt x="34" y="122"/>
                  </a:cubicBezTo>
                  <a:cubicBezTo>
                    <a:pt x="28" y="117"/>
                    <a:pt x="22" y="110"/>
                    <a:pt x="18" y="102"/>
                  </a:cubicBezTo>
                  <a:cubicBezTo>
                    <a:pt x="14" y="95"/>
                    <a:pt x="12" y="85"/>
                    <a:pt x="12" y="74"/>
                  </a:cubicBezTo>
                  <a:lnTo>
                    <a:pt x="12" y="73"/>
                  </a:lnTo>
                  <a:cubicBezTo>
                    <a:pt x="12" y="61"/>
                    <a:pt x="14" y="51"/>
                    <a:pt x="19" y="42"/>
                  </a:cubicBezTo>
                  <a:cubicBezTo>
                    <a:pt x="23" y="33"/>
                    <a:pt x="29" y="25"/>
                    <a:pt x="37" y="19"/>
                  </a:cubicBezTo>
                  <a:cubicBezTo>
                    <a:pt x="44" y="12"/>
                    <a:pt x="53" y="8"/>
                    <a:pt x="63" y="5"/>
                  </a:cubicBezTo>
                  <a:cubicBezTo>
                    <a:pt x="74" y="1"/>
                    <a:pt x="85" y="0"/>
                    <a:pt x="96" y="0"/>
                  </a:cubicBezTo>
                  <a:cubicBezTo>
                    <a:pt x="111" y="0"/>
                    <a:pt x="126" y="2"/>
                    <a:pt x="141" y="7"/>
                  </a:cubicBezTo>
                  <a:cubicBezTo>
                    <a:pt x="156" y="12"/>
                    <a:pt x="170" y="18"/>
                    <a:pt x="182" y="27"/>
                  </a:cubicBezTo>
                  <a:lnTo>
                    <a:pt x="158" y="72"/>
                  </a:lnTo>
                  <a:cubicBezTo>
                    <a:pt x="146" y="65"/>
                    <a:pt x="135" y="60"/>
                    <a:pt x="124" y="56"/>
                  </a:cubicBezTo>
                  <a:cubicBezTo>
                    <a:pt x="113" y="52"/>
                    <a:pt x="103" y="50"/>
                    <a:pt x="95" y="50"/>
                  </a:cubicBezTo>
                  <a:cubicBezTo>
                    <a:pt x="87" y="50"/>
                    <a:pt x="81" y="52"/>
                    <a:pt x="77" y="55"/>
                  </a:cubicBezTo>
                  <a:cubicBezTo>
                    <a:pt x="73" y="58"/>
                    <a:pt x="71" y="62"/>
                    <a:pt x="71" y="66"/>
                  </a:cubicBezTo>
                  <a:lnTo>
                    <a:pt x="71" y="67"/>
                  </a:lnTo>
                  <a:cubicBezTo>
                    <a:pt x="71" y="70"/>
                    <a:pt x="72" y="73"/>
                    <a:pt x="75" y="75"/>
                  </a:cubicBezTo>
                  <a:cubicBezTo>
                    <a:pt x="77" y="78"/>
                    <a:pt x="81" y="80"/>
                    <a:pt x="85" y="82"/>
                  </a:cubicBezTo>
                  <a:cubicBezTo>
                    <a:pt x="89" y="84"/>
                    <a:pt x="94" y="87"/>
                    <a:pt x="100" y="89"/>
                  </a:cubicBezTo>
                  <a:cubicBezTo>
                    <a:pt x="106" y="91"/>
                    <a:pt x="112" y="93"/>
                    <a:pt x="118" y="95"/>
                  </a:cubicBezTo>
                  <a:cubicBezTo>
                    <a:pt x="126" y="97"/>
                    <a:pt x="134" y="100"/>
                    <a:pt x="142" y="104"/>
                  </a:cubicBezTo>
                  <a:cubicBezTo>
                    <a:pt x="151" y="107"/>
                    <a:pt x="158" y="112"/>
                    <a:pt x="165" y="117"/>
                  </a:cubicBezTo>
                  <a:cubicBezTo>
                    <a:pt x="171" y="122"/>
                    <a:pt x="177" y="128"/>
                    <a:pt x="181" y="136"/>
                  </a:cubicBezTo>
                  <a:cubicBezTo>
                    <a:pt x="186" y="143"/>
                    <a:pt x="188" y="152"/>
                    <a:pt x="188" y="163"/>
                  </a:cubicBezTo>
                  <a:lnTo>
                    <a:pt x="188" y="164"/>
                  </a:lnTo>
                  <a:cubicBezTo>
                    <a:pt x="188" y="177"/>
                    <a:pt x="185" y="188"/>
                    <a:pt x="181" y="197"/>
                  </a:cubicBezTo>
                  <a:cubicBezTo>
                    <a:pt x="177" y="207"/>
                    <a:pt x="170" y="214"/>
                    <a:pt x="162" y="220"/>
                  </a:cubicBezTo>
                  <a:cubicBezTo>
                    <a:pt x="154" y="226"/>
                    <a:pt x="145" y="231"/>
                    <a:pt x="134" y="234"/>
                  </a:cubicBezTo>
                  <a:cubicBezTo>
                    <a:pt x="123" y="237"/>
                    <a:pt x="112" y="238"/>
                    <a:pt x="99" y="2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" name="Freeform 36">
              <a:extLst>
                <a:ext uri="{FF2B5EF4-FFF2-40B4-BE49-F238E27FC236}">
                  <a16:creationId xmlns:a16="http://schemas.microsoft.com/office/drawing/2014/main" id="{6DE90898-BECD-0178-46E7-3B86BC4DC0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" y="411"/>
              <a:ext cx="18" cy="41"/>
            </a:xfrm>
            <a:custGeom>
              <a:avLst/>
              <a:gdLst>
                <a:gd name="T0" fmla="*/ 27 w 145"/>
                <a:gd name="T1" fmla="*/ 142 h 317"/>
                <a:gd name="T2" fmla="*/ 0 w 145"/>
                <a:gd name="T3" fmla="*/ 142 h 317"/>
                <a:gd name="T4" fmla="*/ 0 w 145"/>
                <a:gd name="T5" fmla="*/ 88 h 317"/>
                <a:gd name="T6" fmla="*/ 27 w 145"/>
                <a:gd name="T7" fmla="*/ 88 h 317"/>
                <a:gd name="T8" fmla="*/ 27 w 145"/>
                <a:gd name="T9" fmla="*/ 74 h 317"/>
                <a:gd name="T10" fmla="*/ 45 w 145"/>
                <a:gd name="T11" fmla="*/ 18 h 317"/>
                <a:gd name="T12" fmla="*/ 98 w 145"/>
                <a:gd name="T13" fmla="*/ 0 h 317"/>
                <a:gd name="T14" fmla="*/ 125 w 145"/>
                <a:gd name="T15" fmla="*/ 1 h 317"/>
                <a:gd name="T16" fmla="*/ 145 w 145"/>
                <a:gd name="T17" fmla="*/ 6 h 317"/>
                <a:gd name="T18" fmla="*/ 145 w 145"/>
                <a:gd name="T19" fmla="*/ 60 h 317"/>
                <a:gd name="T20" fmla="*/ 131 w 145"/>
                <a:gd name="T21" fmla="*/ 56 h 317"/>
                <a:gd name="T22" fmla="*/ 115 w 145"/>
                <a:gd name="T23" fmla="*/ 55 h 317"/>
                <a:gd name="T24" fmla="*/ 91 w 145"/>
                <a:gd name="T25" fmla="*/ 80 h 317"/>
                <a:gd name="T26" fmla="*/ 91 w 145"/>
                <a:gd name="T27" fmla="*/ 89 h 317"/>
                <a:gd name="T28" fmla="*/ 144 w 145"/>
                <a:gd name="T29" fmla="*/ 89 h 317"/>
                <a:gd name="T30" fmla="*/ 144 w 145"/>
                <a:gd name="T31" fmla="*/ 142 h 317"/>
                <a:gd name="T32" fmla="*/ 92 w 145"/>
                <a:gd name="T33" fmla="*/ 142 h 317"/>
                <a:gd name="T34" fmla="*/ 92 w 145"/>
                <a:gd name="T35" fmla="*/ 317 h 317"/>
                <a:gd name="T36" fmla="*/ 27 w 145"/>
                <a:gd name="T37" fmla="*/ 317 h 317"/>
                <a:gd name="T38" fmla="*/ 27 w 145"/>
                <a:gd name="T39" fmla="*/ 142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5" h="317">
                  <a:moveTo>
                    <a:pt x="27" y="142"/>
                  </a:moveTo>
                  <a:lnTo>
                    <a:pt x="0" y="142"/>
                  </a:lnTo>
                  <a:lnTo>
                    <a:pt x="0" y="88"/>
                  </a:lnTo>
                  <a:lnTo>
                    <a:pt x="27" y="88"/>
                  </a:lnTo>
                  <a:lnTo>
                    <a:pt x="27" y="74"/>
                  </a:lnTo>
                  <a:cubicBezTo>
                    <a:pt x="27" y="49"/>
                    <a:pt x="33" y="30"/>
                    <a:pt x="45" y="18"/>
                  </a:cubicBezTo>
                  <a:cubicBezTo>
                    <a:pt x="57" y="6"/>
                    <a:pt x="75" y="0"/>
                    <a:pt x="98" y="0"/>
                  </a:cubicBezTo>
                  <a:cubicBezTo>
                    <a:pt x="109" y="0"/>
                    <a:pt x="118" y="0"/>
                    <a:pt x="125" y="1"/>
                  </a:cubicBezTo>
                  <a:cubicBezTo>
                    <a:pt x="132" y="3"/>
                    <a:pt x="139" y="4"/>
                    <a:pt x="145" y="6"/>
                  </a:cubicBezTo>
                  <a:lnTo>
                    <a:pt x="145" y="60"/>
                  </a:lnTo>
                  <a:cubicBezTo>
                    <a:pt x="140" y="59"/>
                    <a:pt x="135" y="57"/>
                    <a:pt x="131" y="56"/>
                  </a:cubicBezTo>
                  <a:cubicBezTo>
                    <a:pt x="126" y="55"/>
                    <a:pt x="121" y="55"/>
                    <a:pt x="115" y="55"/>
                  </a:cubicBezTo>
                  <a:cubicBezTo>
                    <a:pt x="99" y="55"/>
                    <a:pt x="91" y="63"/>
                    <a:pt x="91" y="80"/>
                  </a:cubicBezTo>
                  <a:lnTo>
                    <a:pt x="91" y="89"/>
                  </a:lnTo>
                  <a:lnTo>
                    <a:pt x="144" y="89"/>
                  </a:lnTo>
                  <a:lnTo>
                    <a:pt x="144" y="142"/>
                  </a:lnTo>
                  <a:lnTo>
                    <a:pt x="92" y="142"/>
                  </a:lnTo>
                  <a:lnTo>
                    <a:pt x="92" y="317"/>
                  </a:lnTo>
                  <a:lnTo>
                    <a:pt x="27" y="317"/>
                  </a:lnTo>
                  <a:lnTo>
                    <a:pt x="27" y="142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" name="Freeform 37">
              <a:extLst>
                <a:ext uri="{FF2B5EF4-FFF2-40B4-BE49-F238E27FC236}">
                  <a16:creationId xmlns:a16="http://schemas.microsoft.com/office/drawing/2014/main" id="{8DF1FBCD-A2DA-04C7-1DF5-194229F90B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1" y="422"/>
              <a:ext cx="31" cy="31"/>
            </a:xfrm>
            <a:custGeom>
              <a:avLst/>
              <a:gdLst>
                <a:gd name="T0" fmla="*/ 125 w 250"/>
                <a:gd name="T1" fmla="*/ 184 h 240"/>
                <a:gd name="T2" fmla="*/ 151 w 250"/>
                <a:gd name="T3" fmla="*/ 179 h 240"/>
                <a:gd name="T4" fmla="*/ 169 w 250"/>
                <a:gd name="T5" fmla="*/ 165 h 240"/>
                <a:gd name="T6" fmla="*/ 181 w 250"/>
                <a:gd name="T7" fmla="*/ 145 h 240"/>
                <a:gd name="T8" fmla="*/ 185 w 250"/>
                <a:gd name="T9" fmla="*/ 121 h 240"/>
                <a:gd name="T10" fmla="*/ 185 w 250"/>
                <a:gd name="T11" fmla="*/ 120 h 240"/>
                <a:gd name="T12" fmla="*/ 181 w 250"/>
                <a:gd name="T13" fmla="*/ 96 h 240"/>
                <a:gd name="T14" fmla="*/ 168 w 250"/>
                <a:gd name="T15" fmla="*/ 76 h 240"/>
                <a:gd name="T16" fmla="*/ 149 w 250"/>
                <a:gd name="T17" fmla="*/ 62 h 240"/>
                <a:gd name="T18" fmla="*/ 124 w 250"/>
                <a:gd name="T19" fmla="*/ 56 h 240"/>
                <a:gd name="T20" fmla="*/ 99 w 250"/>
                <a:gd name="T21" fmla="*/ 61 h 240"/>
                <a:gd name="T22" fmla="*/ 81 w 250"/>
                <a:gd name="T23" fmla="*/ 75 h 240"/>
                <a:gd name="T24" fmla="*/ 69 w 250"/>
                <a:gd name="T25" fmla="*/ 95 h 240"/>
                <a:gd name="T26" fmla="*/ 65 w 250"/>
                <a:gd name="T27" fmla="*/ 119 h 240"/>
                <a:gd name="T28" fmla="*/ 65 w 250"/>
                <a:gd name="T29" fmla="*/ 120 h 240"/>
                <a:gd name="T30" fmla="*/ 69 w 250"/>
                <a:gd name="T31" fmla="*/ 144 h 240"/>
                <a:gd name="T32" fmla="*/ 81 w 250"/>
                <a:gd name="T33" fmla="*/ 165 h 240"/>
                <a:gd name="T34" fmla="*/ 101 w 250"/>
                <a:gd name="T35" fmla="*/ 179 h 240"/>
                <a:gd name="T36" fmla="*/ 125 w 250"/>
                <a:gd name="T37" fmla="*/ 184 h 240"/>
                <a:gd name="T38" fmla="*/ 124 w 250"/>
                <a:gd name="T39" fmla="*/ 240 h 240"/>
                <a:gd name="T40" fmla="*/ 75 w 250"/>
                <a:gd name="T41" fmla="*/ 231 h 240"/>
                <a:gd name="T42" fmla="*/ 36 w 250"/>
                <a:gd name="T43" fmla="*/ 206 h 240"/>
                <a:gd name="T44" fmla="*/ 9 w 250"/>
                <a:gd name="T45" fmla="*/ 168 h 240"/>
                <a:gd name="T46" fmla="*/ 0 w 250"/>
                <a:gd name="T47" fmla="*/ 121 h 240"/>
                <a:gd name="T48" fmla="*/ 0 w 250"/>
                <a:gd name="T49" fmla="*/ 120 h 240"/>
                <a:gd name="T50" fmla="*/ 9 w 250"/>
                <a:gd name="T51" fmla="*/ 73 h 240"/>
                <a:gd name="T52" fmla="*/ 36 w 250"/>
                <a:gd name="T53" fmla="*/ 35 h 240"/>
                <a:gd name="T54" fmla="*/ 75 w 250"/>
                <a:gd name="T55" fmla="*/ 9 h 240"/>
                <a:gd name="T56" fmla="*/ 125 w 250"/>
                <a:gd name="T57" fmla="*/ 0 h 240"/>
                <a:gd name="T58" fmla="*/ 175 w 250"/>
                <a:gd name="T59" fmla="*/ 9 h 240"/>
                <a:gd name="T60" fmla="*/ 214 w 250"/>
                <a:gd name="T61" fmla="*/ 35 h 240"/>
                <a:gd name="T62" fmla="*/ 240 w 250"/>
                <a:gd name="T63" fmla="*/ 73 h 240"/>
                <a:gd name="T64" fmla="*/ 250 w 250"/>
                <a:gd name="T65" fmla="*/ 119 h 240"/>
                <a:gd name="T66" fmla="*/ 250 w 250"/>
                <a:gd name="T67" fmla="*/ 120 h 240"/>
                <a:gd name="T68" fmla="*/ 240 w 250"/>
                <a:gd name="T69" fmla="*/ 167 h 240"/>
                <a:gd name="T70" fmla="*/ 214 w 250"/>
                <a:gd name="T71" fmla="*/ 205 h 240"/>
                <a:gd name="T72" fmla="*/ 174 w 250"/>
                <a:gd name="T73" fmla="*/ 231 h 240"/>
                <a:gd name="T74" fmla="*/ 124 w 250"/>
                <a:gd name="T7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0" h="240">
                  <a:moveTo>
                    <a:pt x="125" y="184"/>
                  </a:moveTo>
                  <a:cubicBezTo>
                    <a:pt x="135" y="184"/>
                    <a:pt x="143" y="182"/>
                    <a:pt x="151" y="179"/>
                  </a:cubicBezTo>
                  <a:cubicBezTo>
                    <a:pt x="158" y="176"/>
                    <a:pt x="164" y="171"/>
                    <a:pt x="169" y="165"/>
                  </a:cubicBezTo>
                  <a:cubicBezTo>
                    <a:pt x="174" y="160"/>
                    <a:pt x="178" y="153"/>
                    <a:pt x="181" y="145"/>
                  </a:cubicBezTo>
                  <a:cubicBezTo>
                    <a:pt x="184" y="138"/>
                    <a:pt x="185" y="130"/>
                    <a:pt x="185" y="121"/>
                  </a:cubicBezTo>
                  <a:lnTo>
                    <a:pt x="185" y="120"/>
                  </a:lnTo>
                  <a:cubicBezTo>
                    <a:pt x="185" y="112"/>
                    <a:pt x="184" y="103"/>
                    <a:pt x="181" y="96"/>
                  </a:cubicBezTo>
                  <a:cubicBezTo>
                    <a:pt x="178" y="88"/>
                    <a:pt x="174" y="81"/>
                    <a:pt x="168" y="76"/>
                  </a:cubicBezTo>
                  <a:cubicBezTo>
                    <a:pt x="163" y="70"/>
                    <a:pt x="157" y="65"/>
                    <a:pt x="149" y="62"/>
                  </a:cubicBezTo>
                  <a:cubicBezTo>
                    <a:pt x="142" y="58"/>
                    <a:pt x="133" y="56"/>
                    <a:pt x="124" y="56"/>
                  </a:cubicBezTo>
                  <a:cubicBezTo>
                    <a:pt x="115" y="56"/>
                    <a:pt x="107" y="58"/>
                    <a:pt x="99" y="61"/>
                  </a:cubicBezTo>
                  <a:cubicBezTo>
                    <a:pt x="92" y="65"/>
                    <a:pt x="86" y="69"/>
                    <a:pt x="81" y="75"/>
                  </a:cubicBezTo>
                  <a:cubicBezTo>
                    <a:pt x="75" y="81"/>
                    <a:pt x="71" y="87"/>
                    <a:pt x="69" y="95"/>
                  </a:cubicBezTo>
                  <a:cubicBezTo>
                    <a:pt x="66" y="103"/>
                    <a:pt x="65" y="111"/>
                    <a:pt x="65" y="119"/>
                  </a:cubicBezTo>
                  <a:lnTo>
                    <a:pt x="65" y="120"/>
                  </a:lnTo>
                  <a:cubicBezTo>
                    <a:pt x="65" y="129"/>
                    <a:pt x="66" y="137"/>
                    <a:pt x="69" y="144"/>
                  </a:cubicBezTo>
                  <a:cubicBezTo>
                    <a:pt x="72" y="152"/>
                    <a:pt x="76" y="159"/>
                    <a:pt x="81" y="165"/>
                  </a:cubicBezTo>
                  <a:cubicBezTo>
                    <a:pt x="87" y="171"/>
                    <a:pt x="93" y="175"/>
                    <a:pt x="101" y="179"/>
                  </a:cubicBezTo>
                  <a:cubicBezTo>
                    <a:pt x="108" y="182"/>
                    <a:pt x="116" y="184"/>
                    <a:pt x="125" y="184"/>
                  </a:cubicBezTo>
                  <a:close/>
                  <a:moveTo>
                    <a:pt x="124" y="240"/>
                  </a:moveTo>
                  <a:cubicBezTo>
                    <a:pt x="107" y="240"/>
                    <a:pt x="90" y="237"/>
                    <a:pt x="75" y="231"/>
                  </a:cubicBezTo>
                  <a:cubicBezTo>
                    <a:pt x="60" y="225"/>
                    <a:pt x="47" y="216"/>
                    <a:pt x="36" y="206"/>
                  </a:cubicBezTo>
                  <a:cubicBezTo>
                    <a:pt x="24" y="195"/>
                    <a:pt x="16" y="182"/>
                    <a:pt x="9" y="168"/>
                  </a:cubicBezTo>
                  <a:cubicBezTo>
                    <a:pt x="3" y="153"/>
                    <a:pt x="0" y="138"/>
                    <a:pt x="0" y="121"/>
                  </a:cubicBezTo>
                  <a:lnTo>
                    <a:pt x="0" y="120"/>
                  </a:lnTo>
                  <a:cubicBezTo>
                    <a:pt x="0" y="103"/>
                    <a:pt x="3" y="88"/>
                    <a:pt x="9" y="73"/>
                  </a:cubicBezTo>
                  <a:cubicBezTo>
                    <a:pt x="16" y="59"/>
                    <a:pt x="25" y="46"/>
                    <a:pt x="36" y="35"/>
                  </a:cubicBezTo>
                  <a:cubicBezTo>
                    <a:pt x="47" y="24"/>
                    <a:pt x="60" y="16"/>
                    <a:pt x="75" y="9"/>
                  </a:cubicBezTo>
                  <a:cubicBezTo>
                    <a:pt x="91" y="3"/>
                    <a:pt x="107" y="0"/>
                    <a:pt x="125" y="0"/>
                  </a:cubicBezTo>
                  <a:cubicBezTo>
                    <a:pt x="143" y="0"/>
                    <a:pt x="160" y="3"/>
                    <a:pt x="175" y="9"/>
                  </a:cubicBezTo>
                  <a:cubicBezTo>
                    <a:pt x="190" y="15"/>
                    <a:pt x="203" y="24"/>
                    <a:pt x="214" y="35"/>
                  </a:cubicBezTo>
                  <a:cubicBezTo>
                    <a:pt x="225" y="45"/>
                    <a:pt x="234" y="58"/>
                    <a:pt x="240" y="73"/>
                  </a:cubicBezTo>
                  <a:cubicBezTo>
                    <a:pt x="247" y="87"/>
                    <a:pt x="250" y="103"/>
                    <a:pt x="250" y="119"/>
                  </a:cubicBezTo>
                  <a:lnTo>
                    <a:pt x="250" y="120"/>
                  </a:lnTo>
                  <a:cubicBezTo>
                    <a:pt x="250" y="137"/>
                    <a:pt x="247" y="152"/>
                    <a:pt x="240" y="167"/>
                  </a:cubicBezTo>
                  <a:cubicBezTo>
                    <a:pt x="234" y="181"/>
                    <a:pt x="225" y="194"/>
                    <a:pt x="214" y="205"/>
                  </a:cubicBezTo>
                  <a:cubicBezTo>
                    <a:pt x="203" y="216"/>
                    <a:pt x="190" y="225"/>
                    <a:pt x="174" y="231"/>
                  </a:cubicBezTo>
                  <a:cubicBezTo>
                    <a:pt x="159" y="237"/>
                    <a:pt x="143" y="240"/>
                    <a:pt x="124" y="240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3" name="Freeform 38">
              <a:extLst>
                <a:ext uri="{FF2B5EF4-FFF2-40B4-BE49-F238E27FC236}">
                  <a16:creationId xmlns:a16="http://schemas.microsoft.com/office/drawing/2014/main" id="{99AFF892-CC79-5E7C-0BDF-8268C5286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8" y="422"/>
              <a:ext cx="17" cy="30"/>
            </a:xfrm>
            <a:custGeom>
              <a:avLst/>
              <a:gdLst>
                <a:gd name="T0" fmla="*/ 0 w 139"/>
                <a:gd name="T1" fmla="*/ 5 h 236"/>
                <a:gd name="T2" fmla="*/ 66 w 139"/>
                <a:gd name="T3" fmla="*/ 5 h 236"/>
                <a:gd name="T4" fmla="*/ 66 w 139"/>
                <a:gd name="T5" fmla="*/ 52 h 236"/>
                <a:gd name="T6" fmla="*/ 93 w 139"/>
                <a:gd name="T7" fmla="*/ 14 h 236"/>
                <a:gd name="T8" fmla="*/ 139 w 139"/>
                <a:gd name="T9" fmla="*/ 1 h 236"/>
                <a:gd name="T10" fmla="*/ 139 w 139"/>
                <a:gd name="T11" fmla="*/ 69 h 236"/>
                <a:gd name="T12" fmla="*/ 136 w 139"/>
                <a:gd name="T13" fmla="*/ 69 h 236"/>
                <a:gd name="T14" fmla="*/ 84 w 139"/>
                <a:gd name="T15" fmla="*/ 89 h 236"/>
                <a:gd name="T16" fmla="*/ 66 w 139"/>
                <a:gd name="T17" fmla="*/ 151 h 236"/>
                <a:gd name="T18" fmla="*/ 66 w 139"/>
                <a:gd name="T19" fmla="*/ 236 h 236"/>
                <a:gd name="T20" fmla="*/ 0 w 139"/>
                <a:gd name="T21" fmla="*/ 236 h 236"/>
                <a:gd name="T22" fmla="*/ 0 w 139"/>
                <a:gd name="T23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236">
                  <a:moveTo>
                    <a:pt x="0" y="5"/>
                  </a:moveTo>
                  <a:lnTo>
                    <a:pt x="66" y="5"/>
                  </a:lnTo>
                  <a:lnTo>
                    <a:pt x="66" y="52"/>
                  </a:lnTo>
                  <a:cubicBezTo>
                    <a:pt x="72" y="36"/>
                    <a:pt x="81" y="23"/>
                    <a:pt x="93" y="14"/>
                  </a:cubicBezTo>
                  <a:cubicBezTo>
                    <a:pt x="104" y="4"/>
                    <a:pt x="120" y="0"/>
                    <a:pt x="139" y="1"/>
                  </a:cubicBezTo>
                  <a:lnTo>
                    <a:pt x="139" y="69"/>
                  </a:lnTo>
                  <a:lnTo>
                    <a:pt x="136" y="69"/>
                  </a:lnTo>
                  <a:cubicBezTo>
                    <a:pt x="114" y="69"/>
                    <a:pt x="97" y="76"/>
                    <a:pt x="84" y="89"/>
                  </a:cubicBezTo>
                  <a:cubicBezTo>
                    <a:pt x="72" y="102"/>
                    <a:pt x="66" y="123"/>
                    <a:pt x="66" y="151"/>
                  </a:cubicBezTo>
                  <a:lnTo>
                    <a:pt x="66" y="236"/>
                  </a:lnTo>
                  <a:lnTo>
                    <a:pt x="0" y="236"/>
                  </a:lnTo>
                  <a:lnTo>
                    <a:pt x="0" y="5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4" name="Freeform 39">
              <a:extLst>
                <a:ext uri="{FF2B5EF4-FFF2-40B4-BE49-F238E27FC236}">
                  <a16:creationId xmlns:a16="http://schemas.microsoft.com/office/drawing/2014/main" id="{DB465E20-B252-0953-2A47-624F8C699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" y="422"/>
              <a:ext cx="44" cy="30"/>
            </a:xfrm>
            <a:custGeom>
              <a:avLst/>
              <a:gdLst>
                <a:gd name="T0" fmla="*/ 0 w 353"/>
                <a:gd name="T1" fmla="*/ 4 h 235"/>
                <a:gd name="T2" fmla="*/ 66 w 353"/>
                <a:gd name="T3" fmla="*/ 4 h 235"/>
                <a:gd name="T4" fmla="*/ 66 w 353"/>
                <a:gd name="T5" fmla="*/ 37 h 235"/>
                <a:gd name="T6" fmla="*/ 78 w 353"/>
                <a:gd name="T7" fmla="*/ 23 h 235"/>
                <a:gd name="T8" fmla="*/ 93 w 353"/>
                <a:gd name="T9" fmla="*/ 11 h 235"/>
                <a:gd name="T10" fmla="*/ 111 w 353"/>
                <a:gd name="T11" fmla="*/ 3 h 235"/>
                <a:gd name="T12" fmla="*/ 134 w 353"/>
                <a:gd name="T13" fmla="*/ 0 h 235"/>
                <a:gd name="T14" fmla="*/ 173 w 353"/>
                <a:gd name="T15" fmla="*/ 9 h 235"/>
                <a:gd name="T16" fmla="*/ 199 w 353"/>
                <a:gd name="T17" fmla="*/ 37 h 235"/>
                <a:gd name="T18" fmla="*/ 233 w 353"/>
                <a:gd name="T19" fmla="*/ 9 h 235"/>
                <a:gd name="T20" fmla="*/ 275 w 353"/>
                <a:gd name="T21" fmla="*/ 0 h 235"/>
                <a:gd name="T22" fmla="*/ 332 w 353"/>
                <a:gd name="T23" fmla="*/ 21 h 235"/>
                <a:gd name="T24" fmla="*/ 353 w 353"/>
                <a:gd name="T25" fmla="*/ 85 h 235"/>
                <a:gd name="T26" fmla="*/ 353 w 353"/>
                <a:gd name="T27" fmla="*/ 235 h 235"/>
                <a:gd name="T28" fmla="*/ 287 w 353"/>
                <a:gd name="T29" fmla="*/ 235 h 235"/>
                <a:gd name="T30" fmla="*/ 287 w 353"/>
                <a:gd name="T31" fmla="*/ 107 h 235"/>
                <a:gd name="T32" fmla="*/ 277 w 353"/>
                <a:gd name="T33" fmla="*/ 72 h 235"/>
                <a:gd name="T34" fmla="*/ 249 w 353"/>
                <a:gd name="T35" fmla="*/ 60 h 235"/>
                <a:gd name="T36" fmla="*/ 220 w 353"/>
                <a:gd name="T37" fmla="*/ 72 h 235"/>
                <a:gd name="T38" fmla="*/ 209 w 353"/>
                <a:gd name="T39" fmla="*/ 107 h 235"/>
                <a:gd name="T40" fmla="*/ 209 w 353"/>
                <a:gd name="T41" fmla="*/ 235 h 235"/>
                <a:gd name="T42" fmla="*/ 144 w 353"/>
                <a:gd name="T43" fmla="*/ 235 h 235"/>
                <a:gd name="T44" fmla="*/ 144 w 353"/>
                <a:gd name="T45" fmla="*/ 107 h 235"/>
                <a:gd name="T46" fmla="*/ 134 w 353"/>
                <a:gd name="T47" fmla="*/ 72 h 235"/>
                <a:gd name="T48" fmla="*/ 105 w 353"/>
                <a:gd name="T49" fmla="*/ 60 h 235"/>
                <a:gd name="T50" fmla="*/ 76 w 353"/>
                <a:gd name="T51" fmla="*/ 72 h 235"/>
                <a:gd name="T52" fmla="*/ 66 w 353"/>
                <a:gd name="T53" fmla="*/ 107 h 235"/>
                <a:gd name="T54" fmla="*/ 66 w 353"/>
                <a:gd name="T55" fmla="*/ 235 h 235"/>
                <a:gd name="T56" fmla="*/ 0 w 353"/>
                <a:gd name="T57" fmla="*/ 235 h 235"/>
                <a:gd name="T58" fmla="*/ 0 w 353"/>
                <a:gd name="T59" fmla="*/ 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3" h="235">
                  <a:moveTo>
                    <a:pt x="0" y="4"/>
                  </a:moveTo>
                  <a:lnTo>
                    <a:pt x="66" y="4"/>
                  </a:lnTo>
                  <a:lnTo>
                    <a:pt x="66" y="37"/>
                  </a:lnTo>
                  <a:cubicBezTo>
                    <a:pt x="70" y="32"/>
                    <a:pt x="74" y="28"/>
                    <a:pt x="78" y="23"/>
                  </a:cubicBezTo>
                  <a:cubicBezTo>
                    <a:pt x="83" y="19"/>
                    <a:pt x="87" y="15"/>
                    <a:pt x="93" y="11"/>
                  </a:cubicBezTo>
                  <a:cubicBezTo>
                    <a:pt x="98" y="8"/>
                    <a:pt x="105" y="5"/>
                    <a:pt x="111" y="3"/>
                  </a:cubicBezTo>
                  <a:cubicBezTo>
                    <a:pt x="118" y="1"/>
                    <a:pt x="126" y="0"/>
                    <a:pt x="134" y="0"/>
                  </a:cubicBezTo>
                  <a:cubicBezTo>
                    <a:pt x="149" y="0"/>
                    <a:pt x="162" y="3"/>
                    <a:pt x="173" y="9"/>
                  </a:cubicBezTo>
                  <a:cubicBezTo>
                    <a:pt x="184" y="16"/>
                    <a:pt x="193" y="25"/>
                    <a:pt x="199" y="37"/>
                  </a:cubicBezTo>
                  <a:cubicBezTo>
                    <a:pt x="209" y="25"/>
                    <a:pt x="220" y="15"/>
                    <a:pt x="233" y="9"/>
                  </a:cubicBezTo>
                  <a:cubicBezTo>
                    <a:pt x="245" y="3"/>
                    <a:pt x="259" y="0"/>
                    <a:pt x="275" y="0"/>
                  </a:cubicBezTo>
                  <a:cubicBezTo>
                    <a:pt x="299" y="0"/>
                    <a:pt x="318" y="7"/>
                    <a:pt x="332" y="21"/>
                  </a:cubicBezTo>
                  <a:cubicBezTo>
                    <a:pt x="346" y="36"/>
                    <a:pt x="353" y="57"/>
                    <a:pt x="353" y="85"/>
                  </a:cubicBezTo>
                  <a:lnTo>
                    <a:pt x="353" y="235"/>
                  </a:lnTo>
                  <a:lnTo>
                    <a:pt x="287" y="235"/>
                  </a:lnTo>
                  <a:lnTo>
                    <a:pt x="287" y="107"/>
                  </a:lnTo>
                  <a:cubicBezTo>
                    <a:pt x="287" y="91"/>
                    <a:pt x="284" y="80"/>
                    <a:pt x="277" y="72"/>
                  </a:cubicBezTo>
                  <a:cubicBezTo>
                    <a:pt x="271" y="64"/>
                    <a:pt x="261" y="60"/>
                    <a:pt x="249" y="60"/>
                  </a:cubicBezTo>
                  <a:cubicBezTo>
                    <a:pt x="237" y="60"/>
                    <a:pt x="227" y="64"/>
                    <a:pt x="220" y="72"/>
                  </a:cubicBezTo>
                  <a:cubicBezTo>
                    <a:pt x="213" y="80"/>
                    <a:pt x="209" y="91"/>
                    <a:pt x="209" y="107"/>
                  </a:cubicBezTo>
                  <a:lnTo>
                    <a:pt x="209" y="235"/>
                  </a:lnTo>
                  <a:lnTo>
                    <a:pt x="144" y="235"/>
                  </a:lnTo>
                  <a:lnTo>
                    <a:pt x="144" y="107"/>
                  </a:lnTo>
                  <a:cubicBezTo>
                    <a:pt x="144" y="91"/>
                    <a:pt x="140" y="80"/>
                    <a:pt x="134" y="72"/>
                  </a:cubicBezTo>
                  <a:cubicBezTo>
                    <a:pt x="127" y="64"/>
                    <a:pt x="118" y="60"/>
                    <a:pt x="105" y="60"/>
                  </a:cubicBezTo>
                  <a:cubicBezTo>
                    <a:pt x="93" y="60"/>
                    <a:pt x="83" y="64"/>
                    <a:pt x="76" y="72"/>
                  </a:cubicBezTo>
                  <a:cubicBezTo>
                    <a:pt x="69" y="80"/>
                    <a:pt x="66" y="91"/>
                    <a:pt x="66" y="107"/>
                  </a:cubicBezTo>
                  <a:lnTo>
                    <a:pt x="66" y="235"/>
                  </a:lnTo>
                  <a:lnTo>
                    <a:pt x="0" y="235"/>
                  </a:lnTo>
                  <a:lnTo>
                    <a:pt x="0" y="4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Freeform 40">
              <a:extLst>
                <a:ext uri="{FF2B5EF4-FFF2-40B4-BE49-F238E27FC236}">
                  <a16:creationId xmlns:a16="http://schemas.microsoft.com/office/drawing/2014/main" id="{FA33A171-FB63-89C9-F224-1C35FBF34A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422"/>
              <a:ext cx="26" cy="30"/>
            </a:xfrm>
            <a:custGeom>
              <a:avLst/>
              <a:gdLst>
                <a:gd name="T0" fmla="*/ 99 w 212"/>
                <a:gd name="T1" fmla="*/ 192 h 237"/>
                <a:gd name="T2" fmla="*/ 136 w 212"/>
                <a:gd name="T3" fmla="*/ 181 h 237"/>
                <a:gd name="T4" fmla="*/ 150 w 212"/>
                <a:gd name="T5" fmla="*/ 152 h 237"/>
                <a:gd name="T6" fmla="*/ 150 w 212"/>
                <a:gd name="T7" fmla="*/ 140 h 237"/>
                <a:gd name="T8" fmla="*/ 131 w 212"/>
                <a:gd name="T9" fmla="*/ 134 h 237"/>
                <a:gd name="T10" fmla="*/ 108 w 212"/>
                <a:gd name="T11" fmla="*/ 131 h 237"/>
                <a:gd name="T12" fmla="*/ 75 w 212"/>
                <a:gd name="T13" fmla="*/ 140 h 237"/>
                <a:gd name="T14" fmla="*/ 63 w 212"/>
                <a:gd name="T15" fmla="*/ 163 h 237"/>
                <a:gd name="T16" fmla="*/ 63 w 212"/>
                <a:gd name="T17" fmla="*/ 164 h 237"/>
                <a:gd name="T18" fmla="*/ 73 w 212"/>
                <a:gd name="T19" fmla="*/ 185 h 237"/>
                <a:gd name="T20" fmla="*/ 99 w 212"/>
                <a:gd name="T21" fmla="*/ 192 h 237"/>
                <a:gd name="T22" fmla="*/ 79 w 212"/>
                <a:gd name="T23" fmla="*/ 237 h 237"/>
                <a:gd name="T24" fmla="*/ 48 w 212"/>
                <a:gd name="T25" fmla="*/ 233 h 237"/>
                <a:gd name="T26" fmla="*/ 23 w 212"/>
                <a:gd name="T27" fmla="*/ 219 h 237"/>
                <a:gd name="T28" fmla="*/ 6 w 212"/>
                <a:gd name="T29" fmla="*/ 197 h 237"/>
                <a:gd name="T30" fmla="*/ 0 w 212"/>
                <a:gd name="T31" fmla="*/ 167 h 237"/>
                <a:gd name="T32" fmla="*/ 0 w 212"/>
                <a:gd name="T33" fmla="*/ 166 h 237"/>
                <a:gd name="T34" fmla="*/ 7 w 212"/>
                <a:gd name="T35" fmla="*/ 133 h 237"/>
                <a:gd name="T36" fmla="*/ 26 w 212"/>
                <a:gd name="T37" fmla="*/ 110 h 237"/>
                <a:gd name="T38" fmla="*/ 55 w 212"/>
                <a:gd name="T39" fmla="*/ 97 h 237"/>
                <a:gd name="T40" fmla="*/ 93 w 212"/>
                <a:gd name="T41" fmla="*/ 92 h 237"/>
                <a:gd name="T42" fmla="*/ 124 w 212"/>
                <a:gd name="T43" fmla="*/ 95 h 237"/>
                <a:gd name="T44" fmla="*/ 149 w 212"/>
                <a:gd name="T45" fmla="*/ 102 h 237"/>
                <a:gd name="T46" fmla="*/ 149 w 212"/>
                <a:gd name="T47" fmla="*/ 98 h 237"/>
                <a:gd name="T48" fmla="*/ 137 w 212"/>
                <a:gd name="T49" fmla="*/ 66 h 237"/>
                <a:gd name="T50" fmla="*/ 100 w 212"/>
                <a:gd name="T51" fmla="*/ 56 h 237"/>
                <a:gd name="T52" fmla="*/ 66 w 212"/>
                <a:gd name="T53" fmla="*/ 59 h 237"/>
                <a:gd name="T54" fmla="*/ 36 w 212"/>
                <a:gd name="T55" fmla="*/ 68 h 237"/>
                <a:gd name="T56" fmla="*/ 20 w 212"/>
                <a:gd name="T57" fmla="*/ 18 h 237"/>
                <a:gd name="T58" fmla="*/ 59 w 212"/>
                <a:gd name="T59" fmla="*/ 5 h 237"/>
                <a:gd name="T60" fmla="*/ 109 w 212"/>
                <a:gd name="T61" fmla="*/ 0 h 237"/>
                <a:gd name="T62" fmla="*/ 156 w 212"/>
                <a:gd name="T63" fmla="*/ 6 h 237"/>
                <a:gd name="T64" fmla="*/ 187 w 212"/>
                <a:gd name="T65" fmla="*/ 26 h 237"/>
                <a:gd name="T66" fmla="*/ 206 w 212"/>
                <a:gd name="T67" fmla="*/ 57 h 237"/>
                <a:gd name="T68" fmla="*/ 212 w 212"/>
                <a:gd name="T69" fmla="*/ 99 h 237"/>
                <a:gd name="T70" fmla="*/ 212 w 212"/>
                <a:gd name="T71" fmla="*/ 233 h 237"/>
                <a:gd name="T72" fmla="*/ 149 w 212"/>
                <a:gd name="T73" fmla="*/ 233 h 237"/>
                <a:gd name="T74" fmla="*/ 149 w 212"/>
                <a:gd name="T75" fmla="*/ 208 h 237"/>
                <a:gd name="T76" fmla="*/ 120 w 212"/>
                <a:gd name="T77" fmla="*/ 230 h 237"/>
                <a:gd name="T78" fmla="*/ 79 w 212"/>
                <a:gd name="T79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2" h="237">
                  <a:moveTo>
                    <a:pt x="99" y="192"/>
                  </a:moveTo>
                  <a:cubicBezTo>
                    <a:pt x="114" y="192"/>
                    <a:pt x="127" y="189"/>
                    <a:pt x="136" y="181"/>
                  </a:cubicBezTo>
                  <a:cubicBezTo>
                    <a:pt x="145" y="174"/>
                    <a:pt x="150" y="164"/>
                    <a:pt x="150" y="152"/>
                  </a:cubicBezTo>
                  <a:lnTo>
                    <a:pt x="150" y="140"/>
                  </a:lnTo>
                  <a:cubicBezTo>
                    <a:pt x="144" y="138"/>
                    <a:pt x="138" y="135"/>
                    <a:pt x="131" y="134"/>
                  </a:cubicBezTo>
                  <a:cubicBezTo>
                    <a:pt x="124" y="132"/>
                    <a:pt x="116" y="131"/>
                    <a:pt x="108" y="131"/>
                  </a:cubicBezTo>
                  <a:cubicBezTo>
                    <a:pt x="94" y="131"/>
                    <a:pt x="83" y="134"/>
                    <a:pt x="75" y="140"/>
                  </a:cubicBezTo>
                  <a:cubicBezTo>
                    <a:pt x="67" y="145"/>
                    <a:pt x="63" y="153"/>
                    <a:pt x="63" y="163"/>
                  </a:cubicBezTo>
                  <a:lnTo>
                    <a:pt x="63" y="164"/>
                  </a:lnTo>
                  <a:cubicBezTo>
                    <a:pt x="63" y="173"/>
                    <a:pt x="66" y="180"/>
                    <a:pt x="73" y="185"/>
                  </a:cubicBezTo>
                  <a:cubicBezTo>
                    <a:pt x="80" y="190"/>
                    <a:pt x="88" y="192"/>
                    <a:pt x="99" y="192"/>
                  </a:cubicBezTo>
                  <a:close/>
                  <a:moveTo>
                    <a:pt x="79" y="237"/>
                  </a:moveTo>
                  <a:cubicBezTo>
                    <a:pt x="68" y="237"/>
                    <a:pt x="58" y="236"/>
                    <a:pt x="48" y="233"/>
                  </a:cubicBezTo>
                  <a:cubicBezTo>
                    <a:pt x="39" y="230"/>
                    <a:pt x="30" y="225"/>
                    <a:pt x="23" y="219"/>
                  </a:cubicBezTo>
                  <a:cubicBezTo>
                    <a:pt x="16" y="213"/>
                    <a:pt x="10" y="206"/>
                    <a:pt x="6" y="197"/>
                  </a:cubicBezTo>
                  <a:cubicBezTo>
                    <a:pt x="2" y="188"/>
                    <a:pt x="0" y="178"/>
                    <a:pt x="0" y="167"/>
                  </a:cubicBezTo>
                  <a:lnTo>
                    <a:pt x="0" y="166"/>
                  </a:lnTo>
                  <a:cubicBezTo>
                    <a:pt x="0" y="153"/>
                    <a:pt x="2" y="142"/>
                    <a:pt x="7" y="133"/>
                  </a:cubicBezTo>
                  <a:cubicBezTo>
                    <a:pt x="11" y="124"/>
                    <a:pt x="18" y="116"/>
                    <a:pt x="26" y="110"/>
                  </a:cubicBezTo>
                  <a:cubicBezTo>
                    <a:pt x="34" y="104"/>
                    <a:pt x="44" y="100"/>
                    <a:pt x="55" y="97"/>
                  </a:cubicBezTo>
                  <a:cubicBezTo>
                    <a:pt x="67" y="94"/>
                    <a:pt x="79" y="92"/>
                    <a:pt x="93" y="92"/>
                  </a:cubicBezTo>
                  <a:cubicBezTo>
                    <a:pt x="105" y="92"/>
                    <a:pt x="115" y="93"/>
                    <a:pt x="124" y="95"/>
                  </a:cubicBezTo>
                  <a:cubicBezTo>
                    <a:pt x="132" y="97"/>
                    <a:pt x="141" y="99"/>
                    <a:pt x="149" y="102"/>
                  </a:cubicBezTo>
                  <a:lnTo>
                    <a:pt x="149" y="98"/>
                  </a:lnTo>
                  <a:cubicBezTo>
                    <a:pt x="149" y="84"/>
                    <a:pt x="145" y="74"/>
                    <a:pt x="137" y="66"/>
                  </a:cubicBezTo>
                  <a:cubicBezTo>
                    <a:pt x="128" y="59"/>
                    <a:pt x="116" y="56"/>
                    <a:pt x="100" y="56"/>
                  </a:cubicBezTo>
                  <a:cubicBezTo>
                    <a:pt x="87" y="56"/>
                    <a:pt x="76" y="57"/>
                    <a:pt x="66" y="59"/>
                  </a:cubicBezTo>
                  <a:cubicBezTo>
                    <a:pt x="57" y="61"/>
                    <a:pt x="47" y="64"/>
                    <a:pt x="36" y="68"/>
                  </a:cubicBezTo>
                  <a:lnTo>
                    <a:pt x="20" y="18"/>
                  </a:lnTo>
                  <a:cubicBezTo>
                    <a:pt x="32" y="13"/>
                    <a:pt x="45" y="8"/>
                    <a:pt x="59" y="5"/>
                  </a:cubicBezTo>
                  <a:cubicBezTo>
                    <a:pt x="73" y="1"/>
                    <a:pt x="90" y="0"/>
                    <a:pt x="109" y="0"/>
                  </a:cubicBezTo>
                  <a:cubicBezTo>
                    <a:pt x="127" y="0"/>
                    <a:pt x="143" y="2"/>
                    <a:pt x="156" y="6"/>
                  </a:cubicBezTo>
                  <a:cubicBezTo>
                    <a:pt x="168" y="11"/>
                    <a:pt x="179" y="17"/>
                    <a:pt x="187" y="26"/>
                  </a:cubicBezTo>
                  <a:cubicBezTo>
                    <a:pt x="196" y="34"/>
                    <a:pt x="202" y="45"/>
                    <a:pt x="206" y="57"/>
                  </a:cubicBezTo>
                  <a:cubicBezTo>
                    <a:pt x="210" y="70"/>
                    <a:pt x="212" y="84"/>
                    <a:pt x="212" y="99"/>
                  </a:cubicBezTo>
                  <a:lnTo>
                    <a:pt x="212" y="233"/>
                  </a:lnTo>
                  <a:lnTo>
                    <a:pt x="149" y="233"/>
                  </a:lnTo>
                  <a:lnTo>
                    <a:pt x="149" y="208"/>
                  </a:lnTo>
                  <a:cubicBezTo>
                    <a:pt x="141" y="217"/>
                    <a:pt x="131" y="224"/>
                    <a:pt x="120" y="230"/>
                  </a:cubicBezTo>
                  <a:cubicBezTo>
                    <a:pt x="109" y="235"/>
                    <a:pt x="95" y="237"/>
                    <a:pt x="79" y="237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Freeform 41">
              <a:extLst>
                <a:ext uri="{FF2B5EF4-FFF2-40B4-BE49-F238E27FC236}">
                  <a16:creationId xmlns:a16="http://schemas.microsoft.com/office/drawing/2014/main" id="{4693D191-D219-382E-BE56-260F107C5F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1" y="422"/>
              <a:ext cx="27" cy="31"/>
            </a:xfrm>
            <a:custGeom>
              <a:avLst/>
              <a:gdLst>
                <a:gd name="T0" fmla="*/ 121 w 215"/>
                <a:gd name="T1" fmla="*/ 240 h 240"/>
                <a:gd name="T2" fmla="*/ 73 w 215"/>
                <a:gd name="T3" fmla="*/ 231 h 240"/>
                <a:gd name="T4" fmla="*/ 34 w 215"/>
                <a:gd name="T5" fmla="*/ 205 h 240"/>
                <a:gd name="T6" fmla="*/ 9 w 215"/>
                <a:gd name="T7" fmla="*/ 167 h 240"/>
                <a:gd name="T8" fmla="*/ 0 w 215"/>
                <a:gd name="T9" fmla="*/ 121 h 240"/>
                <a:gd name="T10" fmla="*/ 0 w 215"/>
                <a:gd name="T11" fmla="*/ 120 h 240"/>
                <a:gd name="T12" fmla="*/ 9 w 215"/>
                <a:gd name="T13" fmla="*/ 74 h 240"/>
                <a:gd name="T14" fmla="*/ 34 w 215"/>
                <a:gd name="T15" fmla="*/ 35 h 240"/>
                <a:gd name="T16" fmla="*/ 73 w 215"/>
                <a:gd name="T17" fmla="*/ 9 h 240"/>
                <a:gd name="T18" fmla="*/ 121 w 215"/>
                <a:gd name="T19" fmla="*/ 0 h 240"/>
                <a:gd name="T20" fmla="*/ 176 w 215"/>
                <a:gd name="T21" fmla="*/ 10 h 240"/>
                <a:gd name="T22" fmla="*/ 214 w 215"/>
                <a:gd name="T23" fmla="*/ 39 h 240"/>
                <a:gd name="T24" fmla="*/ 174 w 215"/>
                <a:gd name="T25" fmla="*/ 82 h 240"/>
                <a:gd name="T26" fmla="*/ 151 w 215"/>
                <a:gd name="T27" fmla="*/ 63 h 240"/>
                <a:gd name="T28" fmla="*/ 121 w 215"/>
                <a:gd name="T29" fmla="*/ 56 h 240"/>
                <a:gd name="T30" fmla="*/ 98 w 215"/>
                <a:gd name="T31" fmla="*/ 61 h 240"/>
                <a:gd name="T32" fmla="*/ 81 w 215"/>
                <a:gd name="T33" fmla="*/ 75 h 240"/>
                <a:gd name="T34" fmla="*/ 69 w 215"/>
                <a:gd name="T35" fmla="*/ 95 h 240"/>
                <a:gd name="T36" fmla="*/ 65 w 215"/>
                <a:gd name="T37" fmla="*/ 119 h 240"/>
                <a:gd name="T38" fmla="*/ 65 w 215"/>
                <a:gd name="T39" fmla="*/ 120 h 240"/>
                <a:gd name="T40" fmla="*/ 69 w 215"/>
                <a:gd name="T41" fmla="*/ 145 h 240"/>
                <a:gd name="T42" fmla="*/ 81 w 215"/>
                <a:gd name="T43" fmla="*/ 165 h 240"/>
                <a:gd name="T44" fmla="*/ 100 w 215"/>
                <a:gd name="T45" fmla="*/ 179 h 240"/>
                <a:gd name="T46" fmla="*/ 124 w 215"/>
                <a:gd name="T47" fmla="*/ 184 h 240"/>
                <a:gd name="T48" fmla="*/ 152 w 215"/>
                <a:gd name="T49" fmla="*/ 177 h 240"/>
                <a:gd name="T50" fmla="*/ 177 w 215"/>
                <a:gd name="T51" fmla="*/ 159 h 240"/>
                <a:gd name="T52" fmla="*/ 215 w 215"/>
                <a:gd name="T53" fmla="*/ 198 h 240"/>
                <a:gd name="T54" fmla="*/ 177 w 215"/>
                <a:gd name="T55" fmla="*/ 228 h 240"/>
                <a:gd name="T56" fmla="*/ 121 w 215"/>
                <a:gd name="T57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5" h="240">
                  <a:moveTo>
                    <a:pt x="121" y="240"/>
                  </a:moveTo>
                  <a:cubicBezTo>
                    <a:pt x="103" y="240"/>
                    <a:pt x="87" y="237"/>
                    <a:pt x="73" y="231"/>
                  </a:cubicBezTo>
                  <a:cubicBezTo>
                    <a:pt x="58" y="225"/>
                    <a:pt x="45" y="216"/>
                    <a:pt x="34" y="205"/>
                  </a:cubicBezTo>
                  <a:cubicBezTo>
                    <a:pt x="24" y="194"/>
                    <a:pt x="16" y="182"/>
                    <a:pt x="9" y="167"/>
                  </a:cubicBezTo>
                  <a:cubicBezTo>
                    <a:pt x="3" y="153"/>
                    <a:pt x="0" y="137"/>
                    <a:pt x="0" y="121"/>
                  </a:cubicBezTo>
                  <a:lnTo>
                    <a:pt x="0" y="120"/>
                  </a:lnTo>
                  <a:cubicBezTo>
                    <a:pt x="0" y="104"/>
                    <a:pt x="3" y="88"/>
                    <a:pt x="9" y="74"/>
                  </a:cubicBezTo>
                  <a:cubicBezTo>
                    <a:pt x="16" y="59"/>
                    <a:pt x="24" y="46"/>
                    <a:pt x="34" y="35"/>
                  </a:cubicBezTo>
                  <a:cubicBezTo>
                    <a:pt x="45" y="24"/>
                    <a:pt x="58" y="16"/>
                    <a:pt x="73" y="9"/>
                  </a:cubicBezTo>
                  <a:cubicBezTo>
                    <a:pt x="87" y="3"/>
                    <a:pt x="104" y="0"/>
                    <a:pt x="121" y="0"/>
                  </a:cubicBezTo>
                  <a:cubicBezTo>
                    <a:pt x="143" y="0"/>
                    <a:pt x="161" y="3"/>
                    <a:pt x="176" y="10"/>
                  </a:cubicBezTo>
                  <a:cubicBezTo>
                    <a:pt x="190" y="17"/>
                    <a:pt x="203" y="27"/>
                    <a:pt x="214" y="39"/>
                  </a:cubicBezTo>
                  <a:lnTo>
                    <a:pt x="174" y="82"/>
                  </a:lnTo>
                  <a:cubicBezTo>
                    <a:pt x="166" y="74"/>
                    <a:pt x="158" y="68"/>
                    <a:pt x="151" y="63"/>
                  </a:cubicBezTo>
                  <a:cubicBezTo>
                    <a:pt x="143" y="59"/>
                    <a:pt x="133" y="56"/>
                    <a:pt x="121" y="56"/>
                  </a:cubicBezTo>
                  <a:cubicBezTo>
                    <a:pt x="113" y="56"/>
                    <a:pt x="105" y="58"/>
                    <a:pt x="98" y="61"/>
                  </a:cubicBezTo>
                  <a:cubicBezTo>
                    <a:pt x="92" y="65"/>
                    <a:pt x="86" y="69"/>
                    <a:pt x="81" y="75"/>
                  </a:cubicBezTo>
                  <a:cubicBezTo>
                    <a:pt x="76" y="81"/>
                    <a:pt x="72" y="87"/>
                    <a:pt x="69" y="95"/>
                  </a:cubicBezTo>
                  <a:cubicBezTo>
                    <a:pt x="66" y="103"/>
                    <a:pt x="65" y="111"/>
                    <a:pt x="65" y="119"/>
                  </a:cubicBezTo>
                  <a:lnTo>
                    <a:pt x="65" y="120"/>
                  </a:lnTo>
                  <a:cubicBezTo>
                    <a:pt x="65" y="129"/>
                    <a:pt x="66" y="137"/>
                    <a:pt x="69" y="145"/>
                  </a:cubicBezTo>
                  <a:cubicBezTo>
                    <a:pt x="72" y="153"/>
                    <a:pt x="76" y="160"/>
                    <a:pt x="81" y="165"/>
                  </a:cubicBezTo>
                  <a:cubicBezTo>
                    <a:pt x="86" y="171"/>
                    <a:pt x="92" y="176"/>
                    <a:pt x="100" y="179"/>
                  </a:cubicBezTo>
                  <a:cubicBezTo>
                    <a:pt x="107" y="182"/>
                    <a:pt x="115" y="184"/>
                    <a:pt x="124" y="184"/>
                  </a:cubicBezTo>
                  <a:cubicBezTo>
                    <a:pt x="135" y="184"/>
                    <a:pt x="144" y="182"/>
                    <a:pt x="152" y="177"/>
                  </a:cubicBezTo>
                  <a:cubicBezTo>
                    <a:pt x="160" y="173"/>
                    <a:pt x="169" y="167"/>
                    <a:pt x="177" y="159"/>
                  </a:cubicBezTo>
                  <a:lnTo>
                    <a:pt x="215" y="198"/>
                  </a:lnTo>
                  <a:cubicBezTo>
                    <a:pt x="204" y="210"/>
                    <a:pt x="191" y="221"/>
                    <a:pt x="177" y="228"/>
                  </a:cubicBezTo>
                  <a:cubicBezTo>
                    <a:pt x="162" y="236"/>
                    <a:pt x="144" y="240"/>
                    <a:pt x="121" y="240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7" name="Freeform 42">
              <a:extLst>
                <a:ext uri="{FF2B5EF4-FFF2-40B4-BE49-F238E27FC236}">
                  <a16:creationId xmlns:a16="http://schemas.microsoft.com/office/drawing/2014/main" id="{99D9FD41-3DDD-C97F-6551-5D5B6577FD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3" y="412"/>
              <a:ext cx="9" cy="40"/>
            </a:xfrm>
            <a:custGeom>
              <a:avLst/>
              <a:gdLst>
                <a:gd name="T0" fmla="*/ 2 w 69"/>
                <a:gd name="T1" fmla="*/ 83 h 314"/>
                <a:gd name="T2" fmla="*/ 67 w 69"/>
                <a:gd name="T3" fmla="*/ 83 h 314"/>
                <a:gd name="T4" fmla="*/ 67 w 69"/>
                <a:gd name="T5" fmla="*/ 314 h 314"/>
                <a:gd name="T6" fmla="*/ 2 w 69"/>
                <a:gd name="T7" fmla="*/ 314 h 314"/>
                <a:gd name="T8" fmla="*/ 2 w 69"/>
                <a:gd name="T9" fmla="*/ 83 h 314"/>
                <a:gd name="T10" fmla="*/ 0 w 69"/>
                <a:gd name="T11" fmla="*/ 0 h 314"/>
                <a:gd name="T12" fmla="*/ 69 w 69"/>
                <a:gd name="T13" fmla="*/ 0 h 314"/>
                <a:gd name="T14" fmla="*/ 69 w 69"/>
                <a:gd name="T15" fmla="*/ 58 h 314"/>
                <a:gd name="T16" fmla="*/ 0 w 69"/>
                <a:gd name="T17" fmla="*/ 58 h 314"/>
                <a:gd name="T18" fmla="*/ 0 w 69"/>
                <a:gd name="T19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314">
                  <a:moveTo>
                    <a:pt x="2" y="83"/>
                  </a:moveTo>
                  <a:lnTo>
                    <a:pt x="67" y="83"/>
                  </a:lnTo>
                  <a:lnTo>
                    <a:pt x="67" y="314"/>
                  </a:lnTo>
                  <a:lnTo>
                    <a:pt x="2" y="314"/>
                  </a:lnTo>
                  <a:lnTo>
                    <a:pt x="2" y="83"/>
                  </a:lnTo>
                  <a:close/>
                  <a:moveTo>
                    <a:pt x="0" y="0"/>
                  </a:moveTo>
                  <a:lnTo>
                    <a:pt x="69" y="0"/>
                  </a:lnTo>
                  <a:lnTo>
                    <a:pt x="69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8" name="Freeform 43">
              <a:extLst>
                <a:ext uri="{FF2B5EF4-FFF2-40B4-BE49-F238E27FC236}">
                  <a16:creationId xmlns:a16="http://schemas.microsoft.com/office/drawing/2014/main" id="{0A8B61A3-8CF6-FE73-8216-5F35AD52B1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" y="410"/>
              <a:ext cx="31" cy="43"/>
            </a:xfrm>
            <a:custGeom>
              <a:avLst/>
              <a:gdLst>
                <a:gd name="T0" fmla="*/ 148 w 249"/>
                <a:gd name="T1" fmla="*/ 0 h 337"/>
                <a:gd name="T2" fmla="*/ 205 w 249"/>
                <a:gd name="T3" fmla="*/ 24 h 337"/>
                <a:gd name="T4" fmla="*/ 149 w 249"/>
                <a:gd name="T5" fmla="*/ 76 h 337"/>
                <a:gd name="T6" fmla="*/ 99 w 249"/>
                <a:gd name="T7" fmla="*/ 76 h 337"/>
                <a:gd name="T8" fmla="*/ 148 w 249"/>
                <a:gd name="T9" fmla="*/ 0 h 337"/>
                <a:gd name="T10" fmla="*/ 125 w 249"/>
                <a:gd name="T11" fmla="*/ 281 h 337"/>
                <a:gd name="T12" fmla="*/ 150 w 249"/>
                <a:gd name="T13" fmla="*/ 276 h 337"/>
                <a:gd name="T14" fmla="*/ 169 w 249"/>
                <a:gd name="T15" fmla="*/ 262 h 337"/>
                <a:gd name="T16" fmla="*/ 181 w 249"/>
                <a:gd name="T17" fmla="*/ 242 h 337"/>
                <a:gd name="T18" fmla="*/ 185 w 249"/>
                <a:gd name="T19" fmla="*/ 218 h 337"/>
                <a:gd name="T20" fmla="*/ 185 w 249"/>
                <a:gd name="T21" fmla="*/ 217 h 337"/>
                <a:gd name="T22" fmla="*/ 180 w 249"/>
                <a:gd name="T23" fmla="*/ 193 h 337"/>
                <a:gd name="T24" fmla="*/ 168 w 249"/>
                <a:gd name="T25" fmla="*/ 173 h 337"/>
                <a:gd name="T26" fmla="*/ 149 w 249"/>
                <a:gd name="T27" fmla="*/ 159 h 337"/>
                <a:gd name="T28" fmla="*/ 124 w 249"/>
                <a:gd name="T29" fmla="*/ 153 h 337"/>
                <a:gd name="T30" fmla="*/ 99 w 249"/>
                <a:gd name="T31" fmla="*/ 158 h 337"/>
                <a:gd name="T32" fmla="*/ 80 w 249"/>
                <a:gd name="T33" fmla="*/ 172 h 337"/>
                <a:gd name="T34" fmla="*/ 68 w 249"/>
                <a:gd name="T35" fmla="*/ 192 h 337"/>
                <a:gd name="T36" fmla="*/ 64 w 249"/>
                <a:gd name="T37" fmla="*/ 216 h 337"/>
                <a:gd name="T38" fmla="*/ 64 w 249"/>
                <a:gd name="T39" fmla="*/ 217 h 337"/>
                <a:gd name="T40" fmla="*/ 68 w 249"/>
                <a:gd name="T41" fmla="*/ 241 h 337"/>
                <a:gd name="T42" fmla="*/ 81 w 249"/>
                <a:gd name="T43" fmla="*/ 262 h 337"/>
                <a:gd name="T44" fmla="*/ 100 w 249"/>
                <a:gd name="T45" fmla="*/ 276 h 337"/>
                <a:gd name="T46" fmla="*/ 125 w 249"/>
                <a:gd name="T47" fmla="*/ 281 h 337"/>
                <a:gd name="T48" fmla="*/ 124 w 249"/>
                <a:gd name="T49" fmla="*/ 337 h 337"/>
                <a:gd name="T50" fmla="*/ 74 w 249"/>
                <a:gd name="T51" fmla="*/ 328 h 337"/>
                <a:gd name="T52" fmla="*/ 35 w 249"/>
                <a:gd name="T53" fmla="*/ 303 h 337"/>
                <a:gd name="T54" fmla="*/ 9 w 249"/>
                <a:gd name="T55" fmla="*/ 265 h 337"/>
                <a:gd name="T56" fmla="*/ 0 w 249"/>
                <a:gd name="T57" fmla="*/ 218 h 337"/>
                <a:gd name="T58" fmla="*/ 0 w 249"/>
                <a:gd name="T59" fmla="*/ 217 h 337"/>
                <a:gd name="T60" fmla="*/ 9 w 249"/>
                <a:gd name="T61" fmla="*/ 170 h 337"/>
                <a:gd name="T62" fmla="*/ 35 w 249"/>
                <a:gd name="T63" fmla="*/ 132 h 337"/>
                <a:gd name="T64" fmla="*/ 75 w 249"/>
                <a:gd name="T65" fmla="*/ 106 h 337"/>
                <a:gd name="T66" fmla="*/ 125 w 249"/>
                <a:gd name="T67" fmla="*/ 97 h 337"/>
                <a:gd name="T68" fmla="*/ 174 w 249"/>
                <a:gd name="T69" fmla="*/ 106 h 337"/>
                <a:gd name="T70" fmla="*/ 214 w 249"/>
                <a:gd name="T71" fmla="*/ 132 h 337"/>
                <a:gd name="T72" fmla="*/ 240 w 249"/>
                <a:gd name="T73" fmla="*/ 170 h 337"/>
                <a:gd name="T74" fmla="*/ 249 w 249"/>
                <a:gd name="T75" fmla="*/ 216 h 337"/>
                <a:gd name="T76" fmla="*/ 249 w 249"/>
                <a:gd name="T77" fmla="*/ 217 h 337"/>
                <a:gd name="T78" fmla="*/ 240 w 249"/>
                <a:gd name="T79" fmla="*/ 264 h 337"/>
                <a:gd name="T80" fmla="*/ 214 w 249"/>
                <a:gd name="T81" fmla="*/ 302 h 337"/>
                <a:gd name="T82" fmla="*/ 174 w 249"/>
                <a:gd name="T83" fmla="*/ 328 h 337"/>
                <a:gd name="T84" fmla="*/ 124 w 249"/>
                <a:gd name="T85" fmla="*/ 33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9" h="337">
                  <a:moveTo>
                    <a:pt x="148" y="0"/>
                  </a:moveTo>
                  <a:lnTo>
                    <a:pt x="205" y="24"/>
                  </a:lnTo>
                  <a:lnTo>
                    <a:pt x="149" y="76"/>
                  </a:lnTo>
                  <a:lnTo>
                    <a:pt x="99" y="76"/>
                  </a:lnTo>
                  <a:lnTo>
                    <a:pt x="148" y="0"/>
                  </a:lnTo>
                  <a:close/>
                  <a:moveTo>
                    <a:pt x="125" y="281"/>
                  </a:moveTo>
                  <a:cubicBezTo>
                    <a:pt x="134" y="281"/>
                    <a:pt x="143" y="279"/>
                    <a:pt x="150" y="276"/>
                  </a:cubicBezTo>
                  <a:cubicBezTo>
                    <a:pt x="157" y="273"/>
                    <a:pt x="164" y="268"/>
                    <a:pt x="169" y="262"/>
                  </a:cubicBezTo>
                  <a:cubicBezTo>
                    <a:pt x="174" y="257"/>
                    <a:pt x="178" y="250"/>
                    <a:pt x="181" y="242"/>
                  </a:cubicBezTo>
                  <a:cubicBezTo>
                    <a:pt x="183" y="235"/>
                    <a:pt x="185" y="227"/>
                    <a:pt x="185" y="218"/>
                  </a:cubicBezTo>
                  <a:lnTo>
                    <a:pt x="185" y="217"/>
                  </a:lnTo>
                  <a:cubicBezTo>
                    <a:pt x="185" y="209"/>
                    <a:pt x="183" y="200"/>
                    <a:pt x="180" y="193"/>
                  </a:cubicBezTo>
                  <a:cubicBezTo>
                    <a:pt x="178" y="185"/>
                    <a:pt x="173" y="178"/>
                    <a:pt x="168" y="173"/>
                  </a:cubicBezTo>
                  <a:cubicBezTo>
                    <a:pt x="163" y="167"/>
                    <a:pt x="156" y="162"/>
                    <a:pt x="149" y="159"/>
                  </a:cubicBezTo>
                  <a:cubicBezTo>
                    <a:pt x="141" y="155"/>
                    <a:pt x="133" y="153"/>
                    <a:pt x="124" y="153"/>
                  </a:cubicBezTo>
                  <a:cubicBezTo>
                    <a:pt x="115" y="153"/>
                    <a:pt x="106" y="155"/>
                    <a:pt x="99" y="158"/>
                  </a:cubicBezTo>
                  <a:cubicBezTo>
                    <a:pt x="92" y="162"/>
                    <a:pt x="85" y="166"/>
                    <a:pt x="80" y="172"/>
                  </a:cubicBezTo>
                  <a:cubicBezTo>
                    <a:pt x="75" y="178"/>
                    <a:pt x="71" y="184"/>
                    <a:pt x="68" y="192"/>
                  </a:cubicBezTo>
                  <a:cubicBezTo>
                    <a:pt x="66" y="200"/>
                    <a:pt x="64" y="208"/>
                    <a:pt x="64" y="216"/>
                  </a:cubicBezTo>
                  <a:lnTo>
                    <a:pt x="64" y="217"/>
                  </a:lnTo>
                  <a:cubicBezTo>
                    <a:pt x="64" y="226"/>
                    <a:pt x="66" y="234"/>
                    <a:pt x="68" y="241"/>
                  </a:cubicBezTo>
                  <a:cubicBezTo>
                    <a:pt x="71" y="249"/>
                    <a:pt x="75" y="256"/>
                    <a:pt x="81" y="262"/>
                  </a:cubicBezTo>
                  <a:cubicBezTo>
                    <a:pt x="86" y="268"/>
                    <a:pt x="93" y="272"/>
                    <a:pt x="100" y="276"/>
                  </a:cubicBezTo>
                  <a:cubicBezTo>
                    <a:pt x="107" y="279"/>
                    <a:pt x="116" y="281"/>
                    <a:pt x="125" y="281"/>
                  </a:cubicBezTo>
                  <a:close/>
                  <a:moveTo>
                    <a:pt x="124" y="337"/>
                  </a:moveTo>
                  <a:cubicBezTo>
                    <a:pt x="106" y="337"/>
                    <a:pt x="90" y="334"/>
                    <a:pt x="74" y="328"/>
                  </a:cubicBezTo>
                  <a:cubicBezTo>
                    <a:pt x="59" y="322"/>
                    <a:pt x="46" y="313"/>
                    <a:pt x="35" y="303"/>
                  </a:cubicBezTo>
                  <a:cubicBezTo>
                    <a:pt x="24" y="292"/>
                    <a:pt x="15" y="279"/>
                    <a:pt x="9" y="265"/>
                  </a:cubicBezTo>
                  <a:cubicBezTo>
                    <a:pt x="3" y="250"/>
                    <a:pt x="0" y="235"/>
                    <a:pt x="0" y="218"/>
                  </a:cubicBezTo>
                  <a:lnTo>
                    <a:pt x="0" y="217"/>
                  </a:lnTo>
                  <a:cubicBezTo>
                    <a:pt x="0" y="200"/>
                    <a:pt x="3" y="185"/>
                    <a:pt x="9" y="170"/>
                  </a:cubicBezTo>
                  <a:cubicBezTo>
                    <a:pt x="15" y="156"/>
                    <a:pt x="24" y="143"/>
                    <a:pt x="35" y="132"/>
                  </a:cubicBezTo>
                  <a:cubicBezTo>
                    <a:pt x="46" y="121"/>
                    <a:pt x="60" y="113"/>
                    <a:pt x="75" y="106"/>
                  </a:cubicBezTo>
                  <a:cubicBezTo>
                    <a:pt x="90" y="100"/>
                    <a:pt x="107" y="97"/>
                    <a:pt x="125" y="97"/>
                  </a:cubicBezTo>
                  <a:cubicBezTo>
                    <a:pt x="143" y="97"/>
                    <a:pt x="159" y="100"/>
                    <a:pt x="174" y="106"/>
                  </a:cubicBezTo>
                  <a:cubicBezTo>
                    <a:pt x="190" y="112"/>
                    <a:pt x="203" y="121"/>
                    <a:pt x="214" y="132"/>
                  </a:cubicBezTo>
                  <a:cubicBezTo>
                    <a:pt x="225" y="142"/>
                    <a:pt x="234" y="155"/>
                    <a:pt x="240" y="170"/>
                  </a:cubicBezTo>
                  <a:cubicBezTo>
                    <a:pt x="246" y="184"/>
                    <a:pt x="249" y="200"/>
                    <a:pt x="249" y="216"/>
                  </a:cubicBezTo>
                  <a:lnTo>
                    <a:pt x="249" y="217"/>
                  </a:lnTo>
                  <a:cubicBezTo>
                    <a:pt x="249" y="234"/>
                    <a:pt x="246" y="249"/>
                    <a:pt x="240" y="264"/>
                  </a:cubicBezTo>
                  <a:cubicBezTo>
                    <a:pt x="234" y="278"/>
                    <a:pt x="225" y="291"/>
                    <a:pt x="214" y="302"/>
                  </a:cubicBezTo>
                  <a:cubicBezTo>
                    <a:pt x="202" y="313"/>
                    <a:pt x="189" y="322"/>
                    <a:pt x="174" y="328"/>
                  </a:cubicBezTo>
                  <a:cubicBezTo>
                    <a:pt x="159" y="334"/>
                    <a:pt x="142" y="337"/>
                    <a:pt x="124" y="337"/>
                  </a:cubicBez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9" name="Freeform 44">
              <a:extLst>
                <a:ext uri="{FF2B5EF4-FFF2-40B4-BE49-F238E27FC236}">
                  <a16:creationId xmlns:a16="http://schemas.microsoft.com/office/drawing/2014/main" id="{C9B7D95F-3417-516B-5A74-E55B8ABED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5" y="422"/>
              <a:ext cx="26" cy="30"/>
            </a:xfrm>
            <a:custGeom>
              <a:avLst/>
              <a:gdLst>
                <a:gd name="T0" fmla="*/ 0 w 211"/>
                <a:gd name="T1" fmla="*/ 4 h 235"/>
                <a:gd name="T2" fmla="*/ 65 w 211"/>
                <a:gd name="T3" fmla="*/ 4 h 235"/>
                <a:gd name="T4" fmla="*/ 65 w 211"/>
                <a:gd name="T5" fmla="*/ 37 h 235"/>
                <a:gd name="T6" fmla="*/ 78 w 211"/>
                <a:gd name="T7" fmla="*/ 23 h 235"/>
                <a:gd name="T8" fmla="*/ 92 w 211"/>
                <a:gd name="T9" fmla="*/ 11 h 235"/>
                <a:gd name="T10" fmla="*/ 111 w 211"/>
                <a:gd name="T11" fmla="*/ 3 h 235"/>
                <a:gd name="T12" fmla="*/ 133 w 211"/>
                <a:gd name="T13" fmla="*/ 0 h 235"/>
                <a:gd name="T14" fmla="*/ 191 w 211"/>
                <a:gd name="T15" fmla="*/ 23 h 235"/>
                <a:gd name="T16" fmla="*/ 211 w 211"/>
                <a:gd name="T17" fmla="*/ 86 h 235"/>
                <a:gd name="T18" fmla="*/ 211 w 211"/>
                <a:gd name="T19" fmla="*/ 235 h 235"/>
                <a:gd name="T20" fmla="*/ 146 w 211"/>
                <a:gd name="T21" fmla="*/ 235 h 235"/>
                <a:gd name="T22" fmla="*/ 146 w 211"/>
                <a:gd name="T23" fmla="*/ 107 h 235"/>
                <a:gd name="T24" fmla="*/ 135 w 211"/>
                <a:gd name="T25" fmla="*/ 72 h 235"/>
                <a:gd name="T26" fmla="*/ 106 w 211"/>
                <a:gd name="T27" fmla="*/ 60 h 235"/>
                <a:gd name="T28" fmla="*/ 76 w 211"/>
                <a:gd name="T29" fmla="*/ 72 h 235"/>
                <a:gd name="T30" fmla="*/ 65 w 211"/>
                <a:gd name="T31" fmla="*/ 107 h 235"/>
                <a:gd name="T32" fmla="*/ 65 w 211"/>
                <a:gd name="T33" fmla="*/ 235 h 235"/>
                <a:gd name="T34" fmla="*/ 0 w 211"/>
                <a:gd name="T35" fmla="*/ 235 h 235"/>
                <a:gd name="T36" fmla="*/ 0 w 211"/>
                <a:gd name="T37" fmla="*/ 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1" h="235">
                  <a:moveTo>
                    <a:pt x="0" y="4"/>
                  </a:moveTo>
                  <a:lnTo>
                    <a:pt x="65" y="4"/>
                  </a:lnTo>
                  <a:lnTo>
                    <a:pt x="65" y="37"/>
                  </a:lnTo>
                  <a:cubicBezTo>
                    <a:pt x="69" y="32"/>
                    <a:pt x="73" y="28"/>
                    <a:pt x="78" y="23"/>
                  </a:cubicBezTo>
                  <a:cubicBezTo>
                    <a:pt x="82" y="19"/>
                    <a:pt x="87" y="15"/>
                    <a:pt x="92" y="11"/>
                  </a:cubicBezTo>
                  <a:cubicBezTo>
                    <a:pt x="98" y="8"/>
                    <a:pt x="104" y="5"/>
                    <a:pt x="111" y="3"/>
                  </a:cubicBezTo>
                  <a:cubicBezTo>
                    <a:pt x="117" y="1"/>
                    <a:pt x="125" y="0"/>
                    <a:pt x="133" y="0"/>
                  </a:cubicBezTo>
                  <a:cubicBezTo>
                    <a:pt x="158" y="0"/>
                    <a:pt x="177" y="8"/>
                    <a:pt x="191" y="23"/>
                  </a:cubicBezTo>
                  <a:cubicBezTo>
                    <a:pt x="204" y="38"/>
                    <a:pt x="211" y="59"/>
                    <a:pt x="211" y="86"/>
                  </a:cubicBezTo>
                  <a:lnTo>
                    <a:pt x="211" y="235"/>
                  </a:lnTo>
                  <a:lnTo>
                    <a:pt x="146" y="235"/>
                  </a:lnTo>
                  <a:lnTo>
                    <a:pt x="146" y="107"/>
                  </a:lnTo>
                  <a:cubicBezTo>
                    <a:pt x="146" y="91"/>
                    <a:pt x="142" y="80"/>
                    <a:pt x="135" y="72"/>
                  </a:cubicBezTo>
                  <a:cubicBezTo>
                    <a:pt x="129" y="64"/>
                    <a:pt x="119" y="60"/>
                    <a:pt x="106" y="60"/>
                  </a:cubicBezTo>
                  <a:cubicBezTo>
                    <a:pt x="94" y="60"/>
                    <a:pt x="84" y="64"/>
                    <a:pt x="76" y="72"/>
                  </a:cubicBezTo>
                  <a:cubicBezTo>
                    <a:pt x="69" y="80"/>
                    <a:pt x="65" y="91"/>
                    <a:pt x="65" y="107"/>
                  </a:cubicBezTo>
                  <a:lnTo>
                    <a:pt x="65" y="235"/>
                  </a:lnTo>
                  <a:lnTo>
                    <a:pt x="0" y="235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0" name="Freeform 45">
              <a:extLst>
                <a:ext uri="{FF2B5EF4-FFF2-40B4-BE49-F238E27FC236}">
                  <a16:creationId xmlns:a16="http://schemas.microsoft.com/office/drawing/2014/main" id="{B0C475DE-974F-08F6-0402-59E8EC1FB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6" y="478"/>
              <a:ext cx="30" cy="39"/>
            </a:xfrm>
            <a:custGeom>
              <a:avLst/>
              <a:gdLst>
                <a:gd name="T0" fmla="*/ 75 w 240"/>
                <a:gd name="T1" fmla="*/ 301 h 301"/>
                <a:gd name="T2" fmla="*/ 44 w 240"/>
                <a:gd name="T3" fmla="*/ 297 h 301"/>
                <a:gd name="T4" fmla="*/ 17 w 240"/>
                <a:gd name="T5" fmla="*/ 285 h 301"/>
                <a:gd name="T6" fmla="*/ 39 w 240"/>
                <a:gd name="T7" fmla="*/ 238 h 301"/>
                <a:gd name="T8" fmla="*/ 53 w 240"/>
                <a:gd name="T9" fmla="*/ 244 h 301"/>
                <a:gd name="T10" fmla="*/ 67 w 240"/>
                <a:gd name="T11" fmla="*/ 247 h 301"/>
                <a:gd name="T12" fmla="*/ 81 w 240"/>
                <a:gd name="T13" fmla="*/ 243 h 301"/>
                <a:gd name="T14" fmla="*/ 90 w 240"/>
                <a:gd name="T15" fmla="*/ 231 h 301"/>
                <a:gd name="T16" fmla="*/ 0 w 240"/>
                <a:gd name="T17" fmla="*/ 0 h 301"/>
                <a:gd name="T18" fmla="*/ 69 w 240"/>
                <a:gd name="T19" fmla="*/ 0 h 301"/>
                <a:gd name="T20" fmla="*/ 122 w 240"/>
                <a:gd name="T21" fmla="*/ 157 h 301"/>
                <a:gd name="T22" fmla="*/ 172 w 240"/>
                <a:gd name="T23" fmla="*/ 0 h 301"/>
                <a:gd name="T24" fmla="*/ 240 w 240"/>
                <a:gd name="T25" fmla="*/ 0 h 301"/>
                <a:gd name="T26" fmla="*/ 151 w 240"/>
                <a:gd name="T27" fmla="*/ 236 h 301"/>
                <a:gd name="T28" fmla="*/ 137 w 240"/>
                <a:gd name="T29" fmla="*/ 266 h 301"/>
                <a:gd name="T30" fmla="*/ 121 w 240"/>
                <a:gd name="T31" fmla="*/ 286 h 301"/>
                <a:gd name="T32" fmla="*/ 101 w 240"/>
                <a:gd name="T33" fmla="*/ 297 h 301"/>
                <a:gd name="T34" fmla="*/ 75 w 240"/>
                <a:gd name="T35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301">
                  <a:moveTo>
                    <a:pt x="75" y="301"/>
                  </a:moveTo>
                  <a:cubicBezTo>
                    <a:pt x="63" y="301"/>
                    <a:pt x="53" y="299"/>
                    <a:pt x="44" y="297"/>
                  </a:cubicBezTo>
                  <a:cubicBezTo>
                    <a:pt x="34" y="294"/>
                    <a:pt x="26" y="290"/>
                    <a:pt x="17" y="285"/>
                  </a:cubicBezTo>
                  <a:lnTo>
                    <a:pt x="39" y="238"/>
                  </a:lnTo>
                  <a:cubicBezTo>
                    <a:pt x="44" y="240"/>
                    <a:pt x="48" y="242"/>
                    <a:pt x="53" y="244"/>
                  </a:cubicBezTo>
                  <a:cubicBezTo>
                    <a:pt x="58" y="246"/>
                    <a:pt x="63" y="247"/>
                    <a:pt x="67" y="247"/>
                  </a:cubicBezTo>
                  <a:cubicBezTo>
                    <a:pt x="73" y="247"/>
                    <a:pt x="78" y="245"/>
                    <a:pt x="81" y="243"/>
                  </a:cubicBezTo>
                  <a:cubicBezTo>
                    <a:pt x="84" y="241"/>
                    <a:pt x="87" y="237"/>
                    <a:pt x="90" y="231"/>
                  </a:cubicBezTo>
                  <a:lnTo>
                    <a:pt x="0" y="0"/>
                  </a:lnTo>
                  <a:lnTo>
                    <a:pt x="69" y="0"/>
                  </a:lnTo>
                  <a:lnTo>
                    <a:pt x="122" y="157"/>
                  </a:lnTo>
                  <a:lnTo>
                    <a:pt x="172" y="0"/>
                  </a:lnTo>
                  <a:lnTo>
                    <a:pt x="240" y="0"/>
                  </a:lnTo>
                  <a:lnTo>
                    <a:pt x="151" y="236"/>
                  </a:lnTo>
                  <a:cubicBezTo>
                    <a:pt x="147" y="248"/>
                    <a:pt x="142" y="258"/>
                    <a:pt x="137" y="266"/>
                  </a:cubicBezTo>
                  <a:cubicBezTo>
                    <a:pt x="133" y="274"/>
                    <a:pt x="127" y="281"/>
                    <a:pt x="121" y="286"/>
                  </a:cubicBezTo>
                  <a:cubicBezTo>
                    <a:pt x="115" y="291"/>
                    <a:pt x="109" y="295"/>
                    <a:pt x="101" y="297"/>
                  </a:cubicBezTo>
                  <a:cubicBezTo>
                    <a:pt x="94" y="300"/>
                    <a:pt x="85" y="301"/>
                    <a:pt x="75" y="301"/>
                  </a:cubicBez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1" name="Freeform 46">
              <a:extLst>
                <a:ext uri="{FF2B5EF4-FFF2-40B4-BE49-F238E27FC236}">
                  <a16:creationId xmlns:a16="http://schemas.microsoft.com/office/drawing/2014/main" id="{E4FDFC7C-93D8-2352-918C-75F030269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8" y="469"/>
              <a:ext cx="32" cy="39"/>
            </a:xfrm>
            <a:custGeom>
              <a:avLst/>
              <a:gdLst>
                <a:gd name="T0" fmla="*/ 133 w 261"/>
                <a:gd name="T1" fmla="*/ 147 h 302"/>
                <a:gd name="T2" fmla="*/ 171 w 261"/>
                <a:gd name="T3" fmla="*/ 135 h 302"/>
                <a:gd name="T4" fmla="*/ 184 w 261"/>
                <a:gd name="T5" fmla="*/ 104 h 302"/>
                <a:gd name="T6" fmla="*/ 184 w 261"/>
                <a:gd name="T7" fmla="*/ 103 h 302"/>
                <a:gd name="T8" fmla="*/ 170 w 261"/>
                <a:gd name="T9" fmla="*/ 71 h 302"/>
                <a:gd name="T10" fmla="*/ 132 w 261"/>
                <a:gd name="T11" fmla="*/ 60 h 302"/>
                <a:gd name="T12" fmla="*/ 66 w 261"/>
                <a:gd name="T13" fmla="*/ 60 h 302"/>
                <a:gd name="T14" fmla="*/ 66 w 261"/>
                <a:gd name="T15" fmla="*/ 147 h 302"/>
                <a:gd name="T16" fmla="*/ 133 w 261"/>
                <a:gd name="T17" fmla="*/ 147 h 302"/>
                <a:gd name="T18" fmla="*/ 0 w 261"/>
                <a:gd name="T19" fmla="*/ 0 h 302"/>
                <a:gd name="T20" fmla="*/ 138 w 261"/>
                <a:gd name="T21" fmla="*/ 0 h 302"/>
                <a:gd name="T22" fmla="*/ 226 w 261"/>
                <a:gd name="T23" fmla="*/ 31 h 302"/>
                <a:gd name="T24" fmla="*/ 251 w 261"/>
                <a:gd name="T25" fmla="*/ 100 h 302"/>
                <a:gd name="T26" fmla="*/ 251 w 261"/>
                <a:gd name="T27" fmla="*/ 100 h 302"/>
                <a:gd name="T28" fmla="*/ 234 w 261"/>
                <a:gd name="T29" fmla="*/ 160 h 302"/>
                <a:gd name="T30" fmla="*/ 187 w 261"/>
                <a:gd name="T31" fmla="*/ 194 h 302"/>
                <a:gd name="T32" fmla="*/ 261 w 261"/>
                <a:gd name="T33" fmla="*/ 302 h 302"/>
                <a:gd name="T34" fmla="*/ 183 w 261"/>
                <a:gd name="T35" fmla="*/ 302 h 302"/>
                <a:gd name="T36" fmla="*/ 118 w 261"/>
                <a:gd name="T37" fmla="*/ 205 h 302"/>
                <a:gd name="T38" fmla="*/ 118 w 261"/>
                <a:gd name="T39" fmla="*/ 205 h 302"/>
                <a:gd name="T40" fmla="*/ 66 w 261"/>
                <a:gd name="T41" fmla="*/ 205 h 302"/>
                <a:gd name="T42" fmla="*/ 66 w 261"/>
                <a:gd name="T43" fmla="*/ 302 h 302"/>
                <a:gd name="T44" fmla="*/ 0 w 261"/>
                <a:gd name="T45" fmla="*/ 302 h 302"/>
                <a:gd name="T46" fmla="*/ 0 w 261"/>
                <a:gd name="T4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1" h="302">
                  <a:moveTo>
                    <a:pt x="133" y="147"/>
                  </a:moveTo>
                  <a:cubicBezTo>
                    <a:pt x="150" y="147"/>
                    <a:pt x="162" y="143"/>
                    <a:pt x="171" y="135"/>
                  </a:cubicBezTo>
                  <a:cubicBezTo>
                    <a:pt x="180" y="127"/>
                    <a:pt x="184" y="117"/>
                    <a:pt x="184" y="104"/>
                  </a:cubicBezTo>
                  <a:lnTo>
                    <a:pt x="184" y="103"/>
                  </a:lnTo>
                  <a:cubicBezTo>
                    <a:pt x="184" y="89"/>
                    <a:pt x="180" y="78"/>
                    <a:pt x="170" y="71"/>
                  </a:cubicBezTo>
                  <a:cubicBezTo>
                    <a:pt x="161" y="64"/>
                    <a:pt x="149" y="60"/>
                    <a:pt x="132" y="60"/>
                  </a:cubicBezTo>
                  <a:lnTo>
                    <a:pt x="66" y="60"/>
                  </a:lnTo>
                  <a:lnTo>
                    <a:pt x="66" y="147"/>
                  </a:lnTo>
                  <a:lnTo>
                    <a:pt x="133" y="147"/>
                  </a:lnTo>
                  <a:close/>
                  <a:moveTo>
                    <a:pt x="0" y="0"/>
                  </a:moveTo>
                  <a:lnTo>
                    <a:pt x="138" y="0"/>
                  </a:lnTo>
                  <a:cubicBezTo>
                    <a:pt x="176" y="0"/>
                    <a:pt x="205" y="10"/>
                    <a:pt x="226" y="31"/>
                  </a:cubicBezTo>
                  <a:cubicBezTo>
                    <a:pt x="243" y="48"/>
                    <a:pt x="251" y="71"/>
                    <a:pt x="251" y="100"/>
                  </a:cubicBezTo>
                  <a:lnTo>
                    <a:pt x="251" y="100"/>
                  </a:lnTo>
                  <a:cubicBezTo>
                    <a:pt x="251" y="125"/>
                    <a:pt x="246" y="145"/>
                    <a:pt x="234" y="160"/>
                  </a:cubicBezTo>
                  <a:cubicBezTo>
                    <a:pt x="222" y="175"/>
                    <a:pt x="206" y="187"/>
                    <a:pt x="187" y="194"/>
                  </a:cubicBezTo>
                  <a:lnTo>
                    <a:pt x="261" y="302"/>
                  </a:lnTo>
                  <a:lnTo>
                    <a:pt x="183" y="302"/>
                  </a:lnTo>
                  <a:lnTo>
                    <a:pt x="118" y="205"/>
                  </a:lnTo>
                  <a:lnTo>
                    <a:pt x="118" y="205"/>
                  </a:lnTo>
                  <a:lnTo>
                    <a:pt x="66" y="205"/>
                  </a:lnTo>
                  <a:lnTo>
                    <a:pt x="66" y="302"/>
                  </a:lnTo>
                  <a:lnTo>
                    <a:pt x="0" y="302"/>
                  </a:lnTo>
                  <a:lnTo>
                    <a:pt x="0" y="0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2" name="Freeform 47">
              <a:extLst>
                <a:ext uri="{FF2B5EF4-FFF2-40B4-BE49-F238E27FC236}">
                  <a16:creationId xmlns:a16="http://schemas.microsoft.com/office/drawing/2014/main" id="{28BA233E-100F-C5E3-C634-D5765D4AA4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4" y="478"/>
              <a:ext cx="28" cy="30"/>
            </a:xfrm>
            <a:custGeom>
              <a:avLst/>
              <a:gdLst>
                <a:gd name="T0" fmla="*/ 163 w 227"/>
                <a:gd name="T1" fmla="*/ 102 h 241"/>
                <a:gd name="T2" fmla="*/ 148 w 227"/>
                <a:gd name="T3" fmla="*/ 67 h 241"/>
                <a:gd name="T4" fmla="*/ 114 w 227"/>
                <a:gd name="T5" fmla="*/ 53 h 241"/>
                <a:gd name="T6" fmla="*/ 81 w 227"/>
                <a:gd name="T7" fmla="*/ 66 h 241"/>
                <a:gd name="T8" fmla="*/ 64 w 227"/>
                <a:gd name="T9" fmla="*/ 102 h 241"/>
                <a:gd name="T10" fmla="*/ 163 w 227"/>
                <a:gd name="T11" fmla="*/ 102 h 241"/>
                <a:gd name="T12" fmla="*/ 121 w 227"/>
                <a:gd name="T13" fmla="*/ 241 h 241"/>
                <a:gd name="T14" fmla="*/ 73 w 227"/>
                <a:gd name="T15" fmla="*/ 232 h 241"/>
                <a:gd name="T16" fmla="*/ 35 w 227"/>
                <a:gd name="T17" fmla="*/ 208 h 241"/>
                <a:gd name="T18" fmla="*/ 9 w 227"/>
                <a:gd name="T19" fmla="*/ 170 h 241"/>
                <a:gd name="T20" fmla="*/ 0 w 227"/>
                <a:gd name="T21" fmla="*/ 121 h 241"/>
                <a:gd name="T22" fmla="*/ 0 w 227"/>
                <a:gd name="T23" fmla="*/ 121 h 241"/>
                <a:gd name="T24" fmla="*/ 9 w 227"/>
                <a:gd name="T25" fmla="*/ 74 h 241"/>
                <a:gd name="T26" fmla="*/ 32 w 227"/>
                <a:gd name="T27" fmla="*/ 36 h 241"/>
                <a:gd name="T28" fmla="*/ 68 w 227"/>
                <a:gd name="T29" fmla="*/ 10 h 241"/>
                <a:gd name="T30" fmla="*/ 114 w 227"/>
                <a:gd name="T31" fmla="*/ 0 h 241"/>
                <a:gd name="T32" fmla="*/ 164 w 227"/>
                <a:gd name="T33" fmla="*/ 11 h 241"/>
                <a:gd name="T34" fmla="*/ 200 w 227"/>
                <a:gd name="T35" fmla="*/ 39 h 241"/>
                <a:gd name="T36" fmla="*/ 220 w 227"/>
                <a:gd name="T37" fmla="*/ 79 h 241"/>
                <a:gd name="T38" fmla="*/ 227 w 227"/>
                <a:gd name="T39" fmla="*/ 126 h 241"/>
                <a:gd name="T40" fmla="*/ 227 w 227"/>
                <a:gd name="T41" fmla="*/ 134 h 241"/>
                <a:gd name="T42" fmla="*/ 226 w 227"/>
                <a:gd name="T43" fmla="*/ 143 h 241"/>
                <a:gd name="T44" fmla="*/ 65 w 227"/>
                <a:gd name="T45" fmla="*/ 143 h 241"/>
                <a:gd name="T46" fmla="*/ 85 w 227"/>
                <a:gd name="T47" fmla="*/ 177 h 241"/>
                <a:gd name="T48" fmla="*/ 122 w 227"/>
                <a:gd name="T49" fmla="*/ 188 h 241"/>
                <a:gd name="T50" fmla="*/ 151 w 227"/>
                <a:gd name="T51" fmla="*/ 183 h 241"/>
                <a:gd name="T52" fmla="*/ 178 w 227"/>
                <a:gd name="T53" fmla="*/ 165 h 241"/>
                <a:gd name="T54" fmla="*/ 215 w 227"/>
                <a:gd name="T55" fmla="*/ 198 h 241"/>
                <a:gd name="T56" fmla="*/ 176 w 227"/>
                <a:gd name="T57" fmla="*/ 229 h 241"/>
                <a:gd name="T58" fmla="*/ 121 w 227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7" h="241">
                  <a:moveTo>
                    <a:pt x="163" y="102"/>
                  </a:moveTo>
                  <a:cubicBezTo>
                    <a:pt x="161" y="87"/>
                    <a:pt x="156" y="76"/>
                    <a:pt x="148" y="67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1" y="53"/>
                    <a:pt x="90" y="57"/>
                    <a:pt x="81" y="66"/>
                  </a:cubicBezTo>
                  <a:cubicBezTo>
                    <a:pt x="73" y="75"/>
                    <a:pt x="67" y="87"/>
                    <a:pt x="64" y="102"/>
                  </a:cubicBezTo>
                  <a:lnTo>
                    <a:pt x="163" y="102"/>
                  </a:lnTo>
                  <a:close/>
                  <a:moveTo>
                    <a:pt x="121" y="241"/>
                  </a:moveTo>
                  <a:cubicBezTo>
                    <a:pt x="104" y="241"/>
                    <a:pt x="88" y="238"/>
                    <a:pt x="73" y="232"/>
                  </a:cubicBezTo>
                  <a:cubicBezTo>
                    <a:pt x="58" y="226"/>
                    <a:pt x="45" y="218"/>
                    <a:pt x="35" y="208"/>
                  </a:cubicBezTo>
                  <a:cubicBezTo>
                    <a:pt x="24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9" y="74"/>
                  </a:cubicBezTo>
                  <a:cubicBezTo>
                    <a:pt x="14" y="59"/>
                    <a:pt x="22" y="47"/>
                    <a:pt x="32" y="36"/>
                  </a:cubicBezTo>
                  <a:cubicBezTo>
                    <a:pt x="42" y="25"/>
                    <a:pt x="54" y="16"/>
                    <a:pt x="68" y="10"/>
                  </a:cubicBezTo>
                  <a:cubicBezTo>
                    <a:pt x="82" y="4"/>
                    <a:pt x="97" y="0"/>
                    <a:pt x="114" y="0"/>
                  </a:cubicBezTo>
                  <a:cubicBezTo>
                    <a:pt x="134" y="0"/>
                    <a:pt x="150" y="4"/>
                    <a:pt x="164" y="11"/>
                  </a:cubicBezTo>
                  <a:cubicBezTo>
                    <a:pt x="178" y="18"/>
                    <a:pt x="190" y="27"/>
                    <a:pt x="200" y="39"/>
                  </a:cubicBezTo>
                  <a:cubicBezTo>
                    <a:pt x="209" y="50"/>
                    <a:pt x="216" y="64"/>
                    <a:pt x="220" y="79"/>
                  </a:cubicBezTo>
                  <a:cubicBezTo>
                    <a:pt x="225" y="94"/>
                    <a:pt x="227" y="109"/>
                    <a:pt x="227" y="126"/>
                  </a:cubicBezTo>
                  <a:cubicBezTo>
                    <a:pt x="227" y="128"/>
                    <a:pt x="227" y="131"/>
                    <a:pt x="227" y="134"/>
                  </a:cubicBezTo>
                  <a:cubicBezTo>
                    <a:pt x="227" y="137"/>
                    <a:pt x="226" y="140"/>
                    <a:pt x="226" y="143"/>
                  </a:cubicBezTo>
                  <a:lnTo>
                    <a:pt x="65" y="143"/>
                  </a:lnTo>
                  <a:cubicBezTo>
                    <a:pt x="68" y="158"/>
                    <a:pt x="75" y="169"/>
                    <a:pt x="85" y="177"/>
                  </a:cubicBezTo>
                  <a:cubicBezTo>
                    <a:pt x="95" y="184"/>
                    <a:pt x="107" y="188"/>
                    <a:pt x="122" y="188"/>
                  </a:cubicBezTo>
                  <a:cubicBezTo>
                    <a:pt x="133" y="188"/>
                    <a:pt x="142" y="186"/>
                    <a:pt x="151" y="183"/>
                  </a:cubicBezTo>
                  <a:cubicBezTo>
                    <a:pt x="160" y="179"/>
                    <a:pt x="169" y="173"/>
                    <a:pt x="178" y="165"/>
                  </a:cubicBezTo>
                  <a:lnTo>
                    <a:pt x="215" y="198"/>
                  </a:lnTo>
                  <a:cubicBezTo>
                    <a:pt x="204" y="211"/>
                    <a:pt x="191" y="222"/>
                    <a:pt x="176" y="229"/>
                  </a:cubicBezTo>
                  <a:cubicBezTo>
                    <a:pt x="160" y="237"/>
                    <a:pt x="142" y="241"/>
                    <a:pt x="121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3" name="Freeform 48">
              <a:extLst>
                <a:ext uri="{FF2B5EF4-FFF2-40B4-BE49-F238E27FC236}">
                  <a16:creationId xmlns:a16="http://schemas.microsoft.com/office/drawing/2014/main" id="{49F61FF4-B5A9-6CC7-7D5C-B98CF2DA0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6" y="478"/>
              <a:ext cx="23" cy="30"/>
            </a:xfrm>
            <a:custGeom>
              <a:avLst/>
              <a:gdLst>
                <a:gd name="T0" fmla="*/ 100 w 188"/>
                <a:gd name="T1" fmla="*/ 239 h 239"/>
                <a:gd name="T2" fmla="*/ 49 w 188"/>
                <a:gd name="T3" fmla="*/ 231 h 239"/>
                <a:gd name="T4" fmla="*/ 0 w 188"/>
                <a:gd name="T5" fmla="*/ 204 h 239"/>
                <a:gd name="T6" fmla="*/ 28 w 188"/>
                <a:gd name="T7" fmla="*/ 161 h 239"/>
                <a:gd name="T8" fmla="*/ 66 w 188"/>
                <a:gd name="T9" fmla="*/ 182 h 239"/>
                <a:gd name="T10" fmla="*/ 101 w 188"/>
                <a:gd name="T11" fmla="*/ 189 h 239"/>
                <a:gd name="T12" fmla="*/ 122 w 188"/>
                <a:gd name="T13" fmla="*/ 184 h 239"/>
                <a:gd name="T14" fmla="*/ 129 w 188"/>
                <a:gd name="T15" fmla="*/ 171 h 239"/>
                <a:gd name="T16" fmla="*/ 129 w 188"/>
                <a:gd name="T17" fmla="*/ 170 h 239"/>
                <a:gd name="T18" fmla="*/ 125 w 188"/>
                <a:gd name="T19" fmla="*/ 161 h 239"/>
                <a:gd name="T20" fmla="*/ 114 w 188"/>
                <a:gd name="T21" fmla="*/ 155 h 239"/>
                <a:gd name="T22" fmla="*/ 99 w 188"/>
                <a:gd name="T23" fmla="*/ 149 h 239"/>
                <a:gd name="T24" fmla="*/ 81 w 188"/>
                <a:gd name="T25" fmla="*/ 144 h 239"/>
                <a:gd name="T26" fmla="*/ 57 w 188"/>
                <a:gd name="T27" fmla="*/ 135 h 239"/>
                <a:gd name="T28" fmla="*/ 35 w 188"/>
                <a:gd name="T29" fmla="*/ 122 h 239"/>
                <a:gd name="T30" fmla="*/ 18 w 188"/>
                <a:gd name="T31" fmla="*/ 103 h 239"/>
                <a:gd name="T32" fmla="*/ 12 w 188"/>
                <a:gd name="T33" fmla="*/ 74 h 239"/>
                <a:gd name="T34" fmla="*/ 12 w 188"/>
                <a:gd name="T35" fmla="*/ 73 h 239"/>
                <a:gd name="T36" fmla="*/ 19 w 188"/>
                <a:gd name="T37" fmla="*/ 42 h 239"/>
                <a:gd name="T38" fmla="*/ 37 w 188"/>
                <a:gd name="T39" fmla="*/ 19 h 239"/>
                <a:gd name="T40" fmla="*/ 64 w 188"/>
                <a:gd name="T41" fmla="*/ 5 h 239"/>
                <a:gd name="T42" fmla="*/ 97 w 188"/>
                <a:gd name="T43" fmla="*/ 0 h 239"/>
                <a:gd name="T44" fmla="*/ 141 w 188"/>
                <a:gd name="T45" fmla="*/ 7 h 239"/>
                <a:gd name="T46" fmla="*/ 183 w 188"/>
                <a:gd name="T47" fmla="*/ 27 h 239"/>
                <a:gd name="T48" fmla="*/ 158 w 188"/>
                <a:gd name="T49" fmla="*/ 72 h 239"/>
                <a:gd name="T50" fmla="*/ 124 w 188"/>
                <a:gd name="T51" fmla="*/ 56 h 239"/>
                <a:gd name="T52" fmla="*/ 95 w 188"/>
                <a:gd name="T53" fmla="*/ 51 h 239"/>
                <a:gd name="T54" fmla="*/ 77 w 188"/>
                <a:gd name="T55" fmla="*/ 55 h 239"/>
                <a:gd name="T56" fmla="*/ 71 w 188"/>
                <a:gd name="T57" fmla="*/ 67 h 239"/>
                <a:gd name="T58" fmla="*/ 71 w 188"/>
                <a:gd name="T59" fmla="*/ 67 h 239"/>
                <a:gd name="T60" fmla="*/ 75 w 188"/>
                <a:gd name="T61" fmla="*/ 76 h 239"/>
                <a:gd name="T62" fmla="*/ 85 w 188"/>
                <a:gd name="T63" fmla="*/ 83 h 239"/>
                <a:gd name="T64" fmla="*/ 100 w 188"/>
                <a:gd name="T65" fmla="*/ 89 h 239"/>
                <a:gd name="T66" fmla="*/ 118 w 188"/>
                <a:gd name="T67" fmla="*/ 95 h 239"/>
                <a:gd name="T68" fmla="*/ 143 w 188"/>
                <a:gd name="T69" fmla="*/ 104 h 239"/>
                <a:gd name="T70" fmla="*/ 165 w 188"/>
                <a:gd name="T71" fmla="*/ 117 h 239"/>
                <a:gd name="T72" fmla="*/ 181 w 188"/>
                <a:gd name="T73" fmla="*/ 136 h 239"/>
                <a:gd name="T74" fmla="*/ 188 w 188"/>
                <a:gd name="T75" fmla="*/ 164 h 239"/>
                <a:gd name="T76" fmla="*/ 188 w 188"/>
                <a:gd name="T77" fmla="*/ 164 h 239"/>
                <a:gd name="T78" fmla="*/ 181 w 188"/>
                <a:gd name="T79" fmla="*/ 198 h 239"/>
                <a:gd name="T80" fmla="*/ 162 w 188"/>
                <a:gd name="T81" fmla="*/ 221 h 239"/>
                <a:gd name="T82" fmla="*/ 134 w 188"/>
                <a:gd name="T83" fmla="*/ 234 h 239"/>
                <a:gd name="T84" fmla="*/ 100 w 188"/>
                <a:gd name="T85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8" h="239">
                  <a:moveTo>
                    <a:pt x="100" y="239"/>
                  </a:moveTo>
                  <a:cubicBezTo>
                    <a:pt x="83" y="239"/>
                    <a:pt x="66" y="236"/>
                    <a:pt x="49" y="231"/>
                  </a:cubicBezTo>
                  <a:cubicBezTo>
                    <a:pt x="32" y="225"/>
                    <a:pt x="16" y="216"/>
                    <a:pt x="0" y="204"/>
                  </a:cubicBezTo>
                  <a:lnTo>
                    <a:pt x="28" y="161"/>
                  </a:lnTo>
                  <a:cubicBezTo>
                    <a:pt x="41" y="170"/>
                    <a:pt x="54" y="177"/>
                    <a:pt x="66" y="182"/>
                  </a:cubicBezTo>
                  <a:cubicBezTo>
                    <a:pt x="79" y="186"/>
                    <a:pt x="90" y="189"/>
                    <a:pt x="101" y="189"/>
                  </a:cubicBezTo>
                  <a:cubicBezTo>
                    <a:pt x="111" y="189"/>
                    <a:pt x="118" y="187"/>
                    <a:pt x="122" y="184"/>
                  </a:cubicBezTo>
                  <a:cubicBezTo>
                    <a:pt x="127" y="181"/>
                    <a:pt x="129" y="176"/>
                    <a:pt x="129" y="171"/>
                  </a:cubicBezTo>
                  <a:lnTo>
                    <a:pt x="129" y="170"/>
                  </a:lnTo>
                  <a:cubicBezTo>
                    <a:pt x="129" y="167"/>
                    <a:pt x="128" y="164"/>
                    <a:pt x="125" y="161"/>
                  </a:cubicBezTo>
                  <a:cubicBezTo>
                    <a:pt x="122" y="159"/>
                    <a:pt x="119" y="157"/>
                    <a:pt x="114" y="155"/>
                  </a:cubicBezTo>
                  <a:cubicBezTo>
                    <a:pt x="110" y="153"/>
                    <a:pt x="105" y="151"/>
                    <a:pt x="99" y="149"/>
                  </a:cubicBezTo>
                  <a:cubicBezTo>
                    <a:pt x="93" y="148"/>
                    <a:pt x="87" y="146"/>
                    <a:pt x="81" y="144"/>
                  </a:cubicBezTo>
                  <a:cubicBezTo>
                    <a:pt x="73" y="141"/>
                    <a:pt x="65" y="139"/>
                    <a:pt x="57" y="135"/>
                  </a:cubicBezTo>
                  <a:cubicBezTo>
                    <a:pt x="48" y="132"/>
                    <a:pt x="41" y="128"/>
                    <a:pt x="35" y="122"/>
                  </a:cubicBezTo>
                  <a:cubicBezTo>
                    <a:pt x="28" y="117"/>
                    <a:pt x="22" y="111"/>
                    <a:pt x="18" y="103"/>
                  </a:cubicBezTo>
                  <a:cubicBezTo>
                    <a:pt x="14" y="95"/>
                    <a:pt x="12" y="86"/>
                    <a:pt x="12" y="74"/>
                  </a:cubicBezTo>
                  <a:lnTo>
                    <a:pt x="12" y="73"/>
                  </a:lnTo>
                  <a:cubicBezTo>
                    <a:pt x="12" y="62"/>
                    <a:pt x="14" y="51"/>
                    <a:pt x="19" y="42"/>
                  </a:cubicBezTo>
                  <a:cubicBezTo>
                    <a:pt x="23" y="33"/>
                    <a:pt x="29" y="26"/>
                    <a:pt x="37" y="19"/>
                  </a:cubicBezTo>
                  <a:cubicBezTo>
                    <a:pt x="44" y="13"/>
                    <a:pt x="53" y="8"/>
                    <a:pt x="64" y="5"/>
                  </a:cubicBezTo>
                  <a:cubicBezTo>
                    <a:pt x="74" y="2"/>
                    <a:pt x="85" y="0"/>
                    <a:pt x="97" y="0"/>
                  </a:cubicBezTo>
                  <a:cubicBezTo>
                    <a:pt x="111" y="0"/>
                    <a:pt x="126" y="3"/>
                    <a:pt x="141" y="7"/>
                  </a:cubicBezTo>
                  <a:cubicBezTo>
                    <a:pt x="156" y="12"/>
                    <a:pt x="170" y="19"/>
                    <a:pt x="183" y="27"/>
                  </a:cubicBezTo>
                  <a:lnTo>
                    <a:pt x="158" y="72"/>
                  </a:lnTo>
                  <a:cubicBezTo>
                    <a:pt x="146" y="66"/>
                    <a:pt x="135" y="60"/>
                    <a:pt x="124" y="56"/>
                  </a:cubicBezTo>
                  <a:cubicBezTo>
                    <a:pt x="113" y="53"/>
                    <a:pt x="104" y="51"/>
                    <a:pt x="95" y="51"/>
                  </a:cubicBezTo>
                  <a:cubicBezTo>
                    <a:pt x="87" y="51"/>
                    <a:pt x="81" y="52"/>
                    <a:pt x="77" y="55"/>
                  </a:cubicBezTo>
                  <a:cubicBezTo>
                    <a:pt x="73" y="58"/>
                    <a:pt x="71" y="62"/>
                    <a:pt x="71" y="67"/>
                  </a:cubicBezTo>
                  <a:lnTo>
                    <a:pt x="71" y="67"/>
                  </a:lnTo>
                  <a:cubicBezTo>
                    <a:pt x="71" y="71"/>
                    <a:pt x="72" y="73"/>
                    <a:pt x="75" y="76"/>
                  </a:cubicBezTo>
                  <a:cubicBezTo>
                    <a:pt x="78" y="78"/>
                    <a:pt x="81" y="81"/>
                    <a:pt x="85" y="83"/>
                  </a:cubicBezTo>
                  <a:cubicBezTo>
                    <a:pt x="90" y="85"/>
                    <a:pt x="95" y="87"/>
                    <a:pt x="100" y="89"/>
                  </a:cubicBezTo>
                  <a:cubicBezTo>
                    <a:pt x="106" y="91"/>
                    <a:pt x="112" y="93"/>
                    <a:pt x="118" y="95"/>
                  </a:cubicBezTo>
                  <a:cubicBezTo>
                    <a:pt x="126" y="98"/>
                    <a:pt x="134" y="101"/>
                    <a:pt x="143" y="104"/>
                  </a:cubicBezTo>
                  <a:cubicBezTo>
                    <a:pt x="151" y="108"/>
                    <a:pt x="158" y="112"/>
                    <a:pt x="165" y="117"/>
                  </a:cubicBezTo>
                  <a:cubicBezTo>
                    <a:pt x="172" y="123"/>
                    <a:pt x="177" y="129"/>
                    <a:pt x="181" y="136"/>
                  </a:cubicBezTo>
                  <a:cubicBezTo>
                    <a:pt x="186" y="144"/>
                    <a:pt x="188" y="153"/>
                    <a:pt x="188" y="164"/>
                  </a:cubicBezTo>
                  <a:lnTo>
                    <a:pt x="188" y="164"/>
                  </a:lnTo>
                  <a:cubicBezTo>
                    <a:pt x="188" y="177"/>
                    <a:pt x="186" y="188"/>
                    <a:pt x="181" y="198"/>
                  </a:cubicBezTo>
                  <a:cubicBezTo>
                    <a:pt x="177" y="207"/>
                    <a:pt x="170" y="215"/>
                    <a:pt x="162" y="221"/>
                  </a:cubicBezTo>
                  <a:cubicBezTo>
                    <a:pt x="154" y="227"/>
                    <a:pt x="145" y="231"/>
                    <a:pt x="134" y="234"/>
                  </a:cubicBezTo>
                  <a:cubicBezTo>
                    <a:pt x="123" y="237"/>
                    <a:pt x="112" y="239"/>
                    <a:pt x="100" y="239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4" name="Freeform 49">
              <a:extLst>
                <a:ext uri="{FF2B5EF4-FFF2-40B4-BE49-F238E27FC236}">
                  <a16:creationId xmlns:a16="http://schemas.microsoft.com/office/drawing/2014/main" id="{A95CD197-DF69-88DE-A14A-CB3EA6A7DA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5" y="468"/>
              <a:ext cx="9" cy="40"/>
            </a:xfrm>
            <a:custGeom>
              <a:avLst/>
              <a:gdLst>
                <a:gd name="T0" fmla="*/ 2 w 69"/>
                <a:gd name="T1" fmla="*/ 84 h 315"/>
                <a:gd name="T2" fmla="*/ 67 w 69"/>
                <a:gd name="T3" fmla="*/ 84 h 315"/>
                <a:gd name="T4" fmla="*/ 67 w 69"/>
                <a:gd name="T5" fmla="*/ 315 h 315"/>
                <a:gd name="T6" fmla="*/ 2 w 69"/>
                <a:gd name="T7" fmla="*/ 315 h 315"/>
                <a:gd name="T8" fmla="*/ 2 w 69"/>
                <a:gd name="T9" fmla="*/ 84 h 315"/>
                <a:gd name="T10" fmla="*/ 0 w 69"/>
                <a:gd name="T11" fmla="*/ 0 h 315"/>
                <a:gd name="T12" fmla="*/ 69 w 69"/>
                <a:gd name="T13" fmla="*/ 0 h 315"/>
                <a:gd name="T14" fmla="*/ 69 w 69"/>
                <a:gd name="T15" fmla="*/ 58 h 315"/>
                <a:gd name="T16" fmla="*/ 0 w 69"/>
                <a:gd name="T17" fmla="*/ 58 h 315"/>
                <a:gd name="T18" fmla="*/ 0 w 69"/>
                <a:gd name="T1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315">
                  <a:moveTo>
                    <a:pt x="2" y="84"/>
                  </a:moveTo>
                  <a:lnTo>
                    <a:pt x="67" y="84"/>
                  </a:lnTo>
                  <a:lnTo>
                    <a:pt x="67" y="315"/>
                  </a:lnTo>
                  <a:lnTo>
                    <a:pt x="2" y="315"/>
                  </a:lnTo>
                  <a:lnTo>
                    <a:pt x="2" y="84"/>
                  </a:lnTo>
                  <a:close/>
                  <a:moveTo>
                    <a:pt x="0" y="0"/>
                  </a:moveTo>
                  <a:lnTo>
                    <a:pt x="69" y="0"/>
                  </a:lnTo>
                  <a:lnTo>
                    <a:pt x="69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5" name="Rectangle 50">
              <a:extLst>
                <a:ext uri="{FF2B5EF4-FFF2-40B4-BE49-F238E27FC236}">
                  <a16:creationId xmlns:a16="http://schemas.microsoft.com/office/drawing/2014/main" id="{9E5BCE6B-5407-130A-48B5-C634EA3BC3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1" y="468"/>
              <a:ext cx="8" cy="40"/>
            </a:xfrm>
            <a:prstGeom prst="rect">
              <a:avLst/>
            </a:pr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6" name="Freeform 51">
              <a:extLst>
                <a:ext uri="{FF2B5EF4-FFF2-40B4-BE49-F238E27FC236}">
                  <a16:creationId xmlns:a16="http://schemas.microsoft.com/office/drawing/2014/main" id="{4BFAE61B-6060-279D-3DAE-37F294E8A5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7" y="468"/>
              <a:ext cx="9" cy="40"/>
            </a:xfrm>
            <a:custGeom>
              <a:avLst/>
              <a:gdLst>
                <a:gd name="T0" fmla="*/ 2 w 69"/>
                <a:gd name="T1" fmla="*/ 84 h 315"/>
                <a:gd name="T2" fmla="*/ 68 w 69"/>
                <a:gd name="T3" fmla="*/ 84 h 315"/>
                <a:gd name="T4" fmla="*/ 68 w 69"/>
                <a:gd name="T5" fmla="*/ 315 h 315"/>
                <a:gd name="T6" fmla="*/ 2 w 69"/>
                <a:gd name="T7" fmla="*/ 315 h 315"/>
                <a:gd name="T8" fmla="*/ 2 w 69"/>
                <a:gd name="T9" fmla="*/ 84 h 315"/>
                <a:gd name="T10" fmla="*/ 0 w 69"/>
                <a:gd name="T11" fmla="*/ 0 h 315"/>
                <a:gd name="T12" fmla="*/ 69 w 69"/>
                <a:gd name="T13" fmla="*/ 0 h 315"/>
                <a:gd name="T14" fmla="*/ 69 w 69"/>
                <a:gd name="T15" fmla="*/ 58 h 315"/>
                <a:gd name="T16" fmla="*/ 0 w 69"/>
                <a:gd name="T17" fmla="*/ 58 h 315"/>
                <a:gd name="T18" fmla="*/ 0 w 69"/>
                <a:gd name="T1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315">
                  <a:moveTo>
                    <a:pt x="2" y="84"/>
                  </a:moveTo>
                  <a:lnTo>
                    <a:pt x="68" y="84"/>
                  </a:lnTo>
                  <a:lnTo>
                    <a:pt x="68" y="315"/>
                  </a:lnTo>
                  <a:lnTo>
                    <a:pt x="2" y="315"/>
                  </a:lnTo>
                  <a:lnTo>
                    <a:pt x="2" y="84"/>
                  </a:lnTo>
                  <a:close/>
                  <a:moveTo>
                    <a:pt x="0" y="0"/>
                  </a:moveTo>
                  <a:lnTo>
                    <a:pt x="69" y="0"/>
                  </a:lnTo>
                  <a:lnTo>
                    <a:pt x="69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7" name="Freeform 52">
              <a:extLst>
                <a:ext uri="{FF2B5EF4-FFF2-40B4-BE49-F238E27FC236}">
                  <a16:creationId xmlns:a16="http://schemas.microsoft.com/office/drawing/2014/main" id="{A15A83DE-72A2-037F-1F2F-D237F104C6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2" y="478"/>
              <a:ext cx="28" cy="30"/>
            </a:xfrm>
            <a:custGeom>
              <a:avLst/>
              <a:gdLst>
                <a:gd name="T0" fmla="*/ 163 w 227"/>
                <a:gd name="T1" fmla="*/ 102 h 241"/>
                <a:gd name="T2" fmla="*/ 147 w 227"/>
                <a:gd name="T3" fmla="*/ 67 h 241"/>
                <a:gd name="T4" fmla="*/ 114 w 227"/>
                <a:gd name="T5" fmla="*/ 53 h 241"/>
                <a:gd name="T6" fmla="*/ 81 w 227"/>
                <a:gd name="T7" fmla="*/ 66 h 241"/>
                <a:gd name="T8" fmla="*/ 64 w 227"/>
                <a:gd name="T9" fmla="*/ 102 h 241"/>
                <a:gd name="T10" fmla="*/ 163 w 227"/>
                <a:gd name="T11" fmla="*/ 102 h 241"/>
                <a:gd name="T12" fmla="*/ 121 w 227"/>
                <a:gd name="T13" fmla="*/ 241 h 241"/>
                <a:gd name="T14" fmla="*/ 73 w 227"/>
                <a:gd name="T15" fmla="*/ 232 h 241"/>
                <a:gd name="T16" fmla="*/ 34 w 227"/>
                <a:gd name="T17" fmla="*/ 208 h 241"/>
                <a:gd name="T18" fmla="*/ 9 w 227"/>
                <a:gd name="T19" fmla="*/ 170 h 241"/>
                <a:gd name="T20" fmla="*/ 0 w 227"/>
                <a:gd name="T21" fmla="*/ 121 h 241"/>
                <a:gd name="T22" fmla="*/ 0 w 227"/>
                <a:gd name="T23" fmla="*/ 121 h 241"/>
                <a:gd name="T24" fmla="*/ 8 w 227"/>
                <a:gd name="T25" fmla="*/ 74 h 241"/>
                <a:gd name="T26" fmla="*/ 32 w 227"/>
                <a:gd name="T27" fmla="*/ 36 h 241"/>
                <a:gd name="T28" fmla="*/ 68 w 227"/>
                <a:gd name="T29" fmla="*/ 10 h 241"/>
                <a:gd name="T30" fmla="*/ 114 w 227"/>
                <a:gd name="T31" fmla="*/ 0 h 241"/>
                <a:gd name="T32" fmla="*/ 164 w 227"/>
                <a:gd name="T33" fmla="*/ 11 h 241"/>
                <a:gd name="T34" fmla="*/ 199 w 227"/>
                <a:gd name="T35" fmla="*/ 39 h 241"/>
                <a:gd name="T36" fmla="*/ 220 w 227"/>
                <a:gd name="T37" fmla="*/ 79 h 241"/>
                <a:gd name="T38" fmla="*/ 227 w 227"/>
                <a:gd name="T39" fmla="*/ 126 h 241"/>
                <a:gd name="T40" fmla="*/ 226 w 227"/>
                <a:gd name="T41" fmla="*/ 134 h 241"/>
                <a:gd name="T42" fmla="*/ 226 w 227"/>
                <a:gd name="T43" fmla="*/ 143 h 241"/>
                <a:gd name="T44" fmla="*/ 65 w 227"/>
                <a:gd name="T45" fmla="*/ 143 h 241"/>
                <a:gd name="T46" fmla="*/ 85 w 227"/>
                <a:gd name="T47" fmla="*/ 177 h 241"/>
                <a:gd name="T48" fmla="*/ 121 w 227"/>
                <a:gd name="T49" fmla="*/ 188 h 241"/>
                <a:gd name="T50" fmla="*/ 151 w 227"/>
                <a:gd name="T51" fmla="*/ 183 h 241"/>
                <a:gd name="T52" fmla="*/ 177 w 227"/>
                <a:gd name="T53" fmla="*/ 165 h 241"/>
                <a:gd name="T54" fmla="*/ 215 w 227"/>
                <a:gd name="T55" fmla="*/ 198 h 241"/>
                <a:gd name="T56" fmla="*/ 175 w 227"/>
                <a:gd name="T57" fmla="*/ 229 h 241"/>
                <a:gd name="T58" fmla="*/ 121 w 227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7" h="241">
                  <a:moveTo>
                    <a:pt x="163" y="102"/>
                  </a:moveTo>
                  <a:cubicBezTo>
                    <a:pt x="161" y="87"/>
                    <a:pt x="156" y="76"/>
                    <a:pt x="147" y="67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0" y="53"/>
                    <a:pt x="89" y="57"/>
                    <a:pt x="81" y="66"/>
                  </a:cubicBezTo>
                  <a:cubicBezTo>
                    <a:pt x="72" y="75"/>
                    <a:pt x="67" y="87"/>
                    <a:pt x="64" y="102"/>
                  </a:cubicBezTo>
                  <a:lnTo>
                    <a:pt x="163" y="102"/>
                  </a:lnTo>
                  <a:close/>
                  <a:moveTo>
                    <a:pt x="121" y="241"/>
                  </a:moveTo>
                  <a:cubicBezTo>
                    <a:pt x="103" y="241"/>
                    <a:pt x="87" y="238"/>
                    <a:pt x="73" y="232"/>
                  </a:cubicBezTo>
                  <a:cubicBezTo>
                    <a:pt x="58" y="226"/>
                    <a:pt x="45" y="218"/>
                    <a:pt x="34" y="208"/>
                  </a:cubicBezTo>
                  <a:cubicBezTo>
                    <a:pt x="23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8" y="74"/>
                  </a:cubicBezTo>
                  <a:cubicBezTo>
                    <a:pt x="14" y="59"/>
                    <a:pt x="22" y="47"/>
                    <a:pt x="32" y="36"/>
                  </a:cubicBezTo>
                  <a:cubicBezTo>
                    <a:pt x="42" y="25"/>
                    <a:pt x="54" y="16"/>
                    <a:pt x="68" y="10"/>
                  </a:cubicBezTo>
                  <a:cubicBezTo>
                    <a:pt x="82" y="4"/>
                    <a:pt x="97" y="0"/>
                    <a:pt x="114" y="0"/>
                  </a:cubicBezTo>
                  <a:cubicBezTo>
                    <a:pt x="133" y="0"/>
                    <a:pt x="150" y="4"/>
                    <a:pt x="164" y="11"/>
                  </a:cubicBezTo>
                  <a:cubicBezTo>
                    <a:pt x="178" y="18"/>
                    <a:pt x="190" y="27"/>
                    <a:pt x="199" y="39"/>
                  </a:cubicBezTo>
                  <a:cubicBezTo>
                    <a:pt x="209" y="50"/>
                    <a:pt x="215" y="64"/>
                    <a:pt x="220" y="79"/>
                  </a:cubicBezTo>
                  <a:cubicBezTo>
                    <a:pt x="224" y="94"/>
                    <a:pt x="227" y="109"/>
                    <a:pt x="227" y="126"/>
                  </a:cubicBezTo>
                  <a:cubicBezTo>
                    <a:pt x="227" y="128"/>
                    <a:pt x="226" y="131"/>
                    <a:pt x="226" y="134"/>
                  </a:cubicBezTo>
                  <a:cubicBezTo>
                    <a:pt x="226" y="137"/>
                    <a:pt x="226" y="140"/>
                    <a:pt x="226" y="143"/>
                  </a:cubicBezTo>
                  <a:lnTo>
                    <a:pt x="65" y="143"/>
                  </a:lnTo>
                  <a:cubicBezTo>
                    <a:pt x="68" y="158"/>
                    <a:pt x="75" y="169"/>
                    <a:pt x="85" y="177"/>
                  </a:cubicBezTo>
                  <a:cubicBezTo>
                    <a:pt x="94" y="184"/>
                    <a:pt x="107" y="188"/>
                    <a:pt x="121" y="188"/>
                  </a:cubicBezTo>
                  <a:cubicBezTo>
                    <a:pt x="132" y="188"/>
                    <a:pt x="142" y="186"/>
                    <a:pt x="151" y="183"/>
                  </a:cubicBezTo>
                  <a:cubicBezTo>
                    <a:pt x="159" y="179"/>
                    <a:pt x="168" y="173"/>
                    <a:pt x="177" y="165"/>
                  </a:cubicBezTo>
                  <a:lnTo>
                    <a:pt x="215" y="198"/>
                  </a:lnTo>
                  <a:cubicBezTo>
                    <a:pt x="204" y="211"/>
                    <a:pt x="191" y="222"/>
                    <a:pt x="175" y="229"/>
                  </a:cubicBezTo>
                  <a:cubicBezTo>
                    <a:pt x="160" y="237"/>
                    <a:pt x="142" y="241"/>
                    <a:pt x="121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8" name="Freeform 53">
              <a:extLst>
                <a:ext uri="{FF2B5EF4-FFF2-40B4-BE49-F238E27FC236}">
                  <a16:creationId xmlns:a16="http://schemas.microsoft.com/office/drawing/2014/main" id="{7F51067A-BC73-2995-44F8-16D8C4889C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" y="478"/>
              <a:ext cx="26" cy="30"/>
            </a:xfrm>
            <a:custGeom>
              <a:avLst/>
              <a:gdLst>
                <a:gd name="T0" fmla="*/ 0 w 212"/>
                <a:gd name="T1" fmla="*/ 5 h 236"/>
                <a:gd name="T2" fmla="*/ 66 w 212"/>
                <a:gd name="T3" fmla="*/ 5 h 236"/>
                <a:gd name="T4" fmla="*/ 66 w 212"/>
                <a:gd name="T5" fmla="*/ 38 h 236"/>
                <a:gd name="T6" fmla="*/ 78 w 212"/>
                <a:gd name="T7" fmla="*/ 24 h 236"/>
                <a:gd name="T8" fmla="*/ 93 w 212"/>
                <a:gd name="T9" fmla="*/ 12 h 236"/>
                <a:gd name="T10" fmla="*/ 111 w 212"/>
                <a:gd name="T11" fmla="*/ 3 h 236"/>
                <a:gd name="T12" fmla="*/ 133 w 212"/>
                <a:gd name="T13" fmla="*/ 0 h 236"/>
                <a:gd name="T14" fmla="*/ 191 w 212"/>
                <a:gd name="T15" fmla="*/ 23 h 236"/>
                <a:gd name="T16" fmla="*/ 212 w 212"/>
                <a:gd name="T17" fmla="*/ 86 h 236"/>
                <a:gd name="T18" fmla="*/ 212 w 212"/>
                <a:gd name="T19" fmla="*/ 236 h 236"/>
                <a:gd name="T20" fmla="*/ 146 w 212"/>
                <a:gd name="T21" fmla="*/ 236 h 236"/>
                <a:gd name="T22" fmla="*/ 146 w 212"/>
                <a:gd name="T23" fmla="*/ 107 h 236"/>
                <a:gd name="T24" fmla="*/ 136 w 212"/>
                <a:gd name="T25" fmla="*/ 72 h 236"/>
                <a:gd name="T26" fmla="*/ 107 w 212"/>
                <a:gd name="T27" fmla="*/ 60 h 236"/>
                <a:gd name="T28" fmla="*/ 77 w 212"/>
                <a:gd name="T29" fmla="*/ 72 h 236"/>
                <a:gd name="T30" fmla="*/ 66 w 212"/>
                <a:gd name="T31" fmla="*/ 107 h 236"/>
                <a:gd name="T32" fmla="*/ 66 w 212"/>
                <a:gd name="T33" fmla="*/ 236 h 236"/>
                <a:gd name="T34" fmla="*/ 0 w 212"/>
                <a:gd name="T35" fmla="*/ 236 h 236"/>
                <a:gd name="T36" fmla="*/ 0 w 212"/>
                <a:gd name="T37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2" h="236">
                  <a:moveTo>
                    <a:pt x="0" y="5"/>
                  </a:moveTo>
                  <a:lnTo>
                    <a:pt x="66" y="5"/>
                  </a:lnTo>
                  <a:lnTo>
                    <a:pt x="66" y="38"/>
                  </a:lnTo>
                  <a:cubicBezTo>
                    <a:pt x="69" y="33"/>
                    <a:pt x="74" y="28"/>
                    <a:pt x="78" y="24"/>
                  </a:cubicBezTo>
                  <a:cubicBezTo>
                    <a:pt x="82" y="19"/>
                    <a:pt x="87" y="15"/>
                    <a:pt x="93" y="12"/>
                  </a:cubicBezTo>
                  <a:cubicBezTo>
                    <a:pt x="98" y="8"/>
                    <a:pt x="104" y="5"/>
                    <a:pt x="111" y="3"/>
                  </a:cubicBezTo>
                  <a:cubicBezTo>
                    <a:pt x="118" y="1"/>
                    <a:pt x="125" y="0"/>
                    <a:pt x="133" y="0"/>
                  </a:cubicBezTo>
                  <a:cubicBezTo>
                    <a:pt x="158" y="0"/>
                    <a:pt x="178" y="8"/>
                    <a:pt x="191" y="23"/>
                  </a:cubicBezTo>
                  <a:cubicBezTo>
                    <a:pt x="205" y="38"/>
                    <a:pt x="212" y="59"/>
                    <a:pt x="212" y="86"/>
                  </a:cubicBezTo>
                  <a:lnTo>
                    <a:pt x="212" y="236"/>
                  </a:lnTo>
                  <a:lnTo>
                    <a:pt x="146" y="236"/>
                  </a:lnTo>
                  <a:lnTo>
                    <a:pt x="146" y="107"/>
                  </a:lnTo>
                  <a:cubicBezTo>
                    <a:pt x="146" y="92"/>
                    <a:pt x="143" y="80"/>
                    <a:pt x="136" y="72"/>
                  </a:cubicBezTo>
                  <a:cubicBezTo>
                    <a:pt x="129" y="64"/>
                    <a:pt x="119" y="60"/>
                    <a:pt x="107" y="60"/>
                  </a:cubicBezTo>
                  <a:cubicBezTo>
                    <a:pt x="94" y="60"/>
                    <a:pt x="84" y="64"/>
                    <a:pt x="77" y="72"/>
                  </a:cubicBezTo>
                  <a:cubicBezTo>
                    <a:pt x="69" y="80"/>
                    <a:pt x="66" y="92"/>
                    <a:pt x="66" y="107"/>
                  </a:cubicBezTo>
                  <a:lnTo>
                    <a:pt x="66" y="236"/>
                  </a:lnTo>
                  <a:lnTo>
                    <a:pt x="0" y="236"/>
                  </a:lnTo>
                  <a:lnTo>
                    <a:pt x="0" y="5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9" name="Freeform 54">
              <a:extLst>
                <a:ext uri="{FF2B5EF4-FFF2-40B4-BE49-F238E27FC236}">
                  <a16:creationId xmlns:a16="http://schemas.microsoft.com/office/drawing/2014/main" id="{0089E193-09A6-0070-D153-CE26CBC8F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8" y="478"/>
              <a:ext cx="26" cy="30"/>
            </a:xfrm>
            <a:custGeom>
              <a:avLst/>
              <a:gdLst>
                <a:gd name="T0" fmla="*/ 121 w 215"/>
                <a:gd name="T1" fmla="*/ 241 h 241"/>
                <a:gd name="T2" fmla="*/ 73 w 215"/>
                <a:gd name="T3" fmla="*/ 231 h 241"/>
                <a:gd name="T4" fmla="*/ 34 w 215"/>
                <a:gd name="T5" fmla="*/ 206 h 241"/>
                <a:gd name="T6" fmla="*/ 9 w 215"/>
                <a:gd name="T7" fmla="*/ 168 h 241"/>
                <a:gd name="T8" fmla="*/ 0 w 215"/>
                <a:gd name="T9" fmla="*/ 121 h 241"/>
                <a:gd name="T10" fmla="*/ 0 w 215"/>
                <a:gd name="T11" fmla="*/ 121 h 241"/>
                <a:gd name="T12" fmla="*/ 9 w 215"/>
                <a:gd name="T13" fmla="*/ 74 h 241"/>
                <a:gd name="T14" fmla="*/ 34 w 215"/>
                <a:gd name="T15" fmla="*/ 36 h 241"/>
                <a:gd name="T16" fmla="*/ 73 w 215"/>
                <a:gd name="T17" fmla="*/ 10 h 241"/>
                <a:gd name="T18" fmla="*/ 121 w 215"/>
                <a:gd name="T19" fmla="*/ 0 h 241"/>
                <a:gd name="T20" fmla="*/ 176 w 215"/>
                <a:gd name="T21" fmla="*/ 11 h 241"/>
                <a:gd name="T22" fmla="*/ 214 w 215"/>
                <a:gd name="T23" fmla="*/ 39 h 241"/>
                <a:gd name="T24" fmla="*/ 174 w 215"/>
                <a:gd name="T25" fmla="*/ 82 h 241"/>
                <a:gd name="T26" fmla="*/ 151 w 215"/>
                <a:gd name="T27" fmla="*/ 64 h 241"/>
                <a:gd name="T28" fmla="*/ 121 w 215"/>
                <a:gd name="T29" fmla="*/ 57 h 241"/>
                <a:gd name="T30" fmla="*/ 98 w 215"/>
                <a:gd name="T31" fmla="*/ 62 h 241"/>
                <a:gd name="T32" fmla="*/ 81 w 215"/>
                <a:gd name="T33" fmla="*/ 75 h 241"/>
                <a:gd name="T34" fmla="*/ 69 w 215"/>
                <a:gd name="T35" fmla="*/ 95 h 241"/>
                <a:gd name="T36" fmla="*/ 65 w 215"/>
                <a:gd name="T37" fmla="*/ 120 h 241"/>
                <a:gd name="T38" fmla="*/ 65 w 215"/>
                <a:gd name="T39" fmla="*/ 121 h 241"/>
                <a:gd name="T40" fmla="*/ 69 w 215"/>
                <a:gd name="T41" fmla="*/ 146 h 241"/>
                <a:gd name="T42" fmla="*/ 81 w 215"/>
                <a:gd name="T43" fmla="*/ 166 h 241"/>
                <a:gd name="T44" fmla="*/ 99 w 215"/>
                <a:gd name="T45" fmla="*/ 179 h 241"/>
                <a:gd name="T46" fmla="*/ 124 w 215"/>
                <a:gd name="T47" fmla="*/ 184 h 241"/>
                <a:gd name="T48" fmla="*/ 152 w 215"/>
                <a:gd name="T49" fmla="*/ 178 h 241"/>
                <a:gd name="T50" fmla="*/ 177 w 215"/>
                <a:gd name="T51" fmla="*/ 160 h 241"/>
                <a:gd name="T52" fmla="*/ 215 w 215"/>
                <a:gd name="T53" fmla="*/ 199 h 241"/>
                <a:gd name="T54" fmla="*/ 177 w 215"/>
                <a:gd name="T55" fmla="*/ 229 h 241"/>
                <a:gd name="T56" fmla="*/ 121 w 215"/>
                <a:gd name="T5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5" h="241">
                  <a:moveTo>
                    <a:pt x="121" y="241"/>
                  </a:moveTo>
                  <a:cubicBezTo>
                    <a:pt x="103" y="241"/>
                    <a:pt x="87" y="238"/>
                    <a:pt x="73" y="231"/>
                  </a:cubicBezTo>
                  <a:cubicBezTo>
                    <a:pt x="58" y="225"/>
                    <a:pt x="45" y="216"/>
                    <a:pt x="34" y="206"/>
                  </a:cubicBezTo>
                  <a:cubicBezTo>
                    <a:pt x="24" y="195"/>
                    <a:pt x="15" y="182"/>
                    <a:pt x="9" y="168"/>
                  </a:cubicBezTo>
                  <a:cubicBezTo>
                    <a:pt x="3" y="153"/>
                    <a:pt x="0" y="138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9" y="74"/>
                  </a:cubicBezTo>
                  <a:cubicBezTo>
                    <a:pt x="15" y="59"/>
                    <a:pt x="24" y="47"/>
                    <a:pt x="34" y="36"/>
                  </a:cubicBezTo>
                  <a:cubicBezTo>
                    <a:pt x="45" y="25"/>
                    <a:pt x="58" y="16"/>
                    <a:pt x="73" y="10"/>
                  </a:cubicBezTo>
                  <a:cubicBezTo>
                    <a:pt x="87" y="4"/>
                    <a:pt x="104" y="0"/>
                    <a:pt x="121" y="0"/>
                  </a:cubicBezTo>
                  <a:cubicBezTo>
                    <a:pt x="143" y="0"/>
                    <a:pt x="161" y="4"/>
                    <a:pt x="176" y="11"/>
                  </a:cubicBezTo>
                  <a:cubicBezTo>
                    <a:pt x="190" y="18"/>
                    <a:pt x="203" y="27"/>
                    <a:pt x="214" y="39"/>
                  </a:cubicBezTo>
                  <a:lnTo>
                    <a:pt x="174" y="82"/>
                  </a:lnTo>
                  <a:cubicBezTo>
                    <a:pt x="166" y="74"/>
                    <a:pt x="158" y="68"/>
                    <a:pt x="151" y="64"/>
                  </a:cubicBezTo>
                  <a:cubicBezTo>
                    <a:pt x="143" y="59"/>
                    <a:pt x="133" y="57"/>
                    <a:pt x="121" y="57"/>
                  </a:cubicBezTo>
                  <a:cubicBezTo>
                    <a:pt x="113" y="57"/>
                    <a:pt x="105" y="58"/>
                    <a:pt x="98" y="62"/>
                  </a:cubicBezTo>
                  <a:cubicBezTo>
                    <a:pt x="92" y="65"/>
                    <a:pt x="86" y="70"/>
                    <a:pt x="81" y="75"/>
                  </a:cubicBezTo>
                  <a:cubicBezTo>
                    <a:pt x="76" y="81"/>
                    <a:pt x="72" y="88"/>
                    <a:pt x="69" y="95"/>
                  </a:cubicBezTo>
                  <a:cubicBezTo>
                    <a:pt x="66" y="103"/>
                    <a:pt x="65" y="111"/>
                    <a:pt x="65" y="120"/>
                  </a:cubicBezTo>
                  <a:lnTo>
                    <a:pt x="65" y="121"/>
                  </a:lnTo>
                  <a:cubicBezTo>
                    <a:pt x="65" y="129"/>
                    <a:pt x="66" y="138"/>
                    <a:pt x="69" y="146"/>
                  </a:cubicBezTo>
                  <a:cubicBezTo>
                    <a:pt x="72" y="153"/>
                    <a:pt x="76" y="160"/>
                    <a:pt x="81" y="166"/>
                  </a:cubicBezTo>
                  <a:cubicBezTo>
                    <a:pt x="86" y="172"/>
                    <a:pt x="92" y="176"/>
                    <a:pt x="99" y="179"/>
                  </a:cubicBezTo>
                  <a:cubicBezTo>
                    <a:pt x="107" y="183"/>
                    <a:pt x="115" y="184"/>
                    <a:pt x="124" y="184"/>
                  </a:cubicBezTo>
                  <a:cubicBezTo>
                    <a:pt x="135" y="184"/>
                    <a:pt x="144" y="182"/>
                    <a:pt x="152" y="178"/>
                  </a:cubicBezTo>
                  <a:cubicBezTo>
                    <a:pt x="160" y="173"/>
                    <a:pt x="169" y="167"/>
                    <a:pt x="177" y="160"/>
                  </a:cubicBezTo>
                  <a:lnTo>
                    <a:pt x="215" y="199"/>
                  </a:lnTo>
                  <a:cubicBezTo>
                    <a:pt x="204" y="211"/>
                    <a:pt x="191" y="221"/>
                    <a:pt x="177" y="229"/>
                  </a:cubicBezTo>
                  <a:cubicBezTo>
                    <a:pt x="162" y="237"/>
                    <a:pt x="144" y="241"/>
                    <a:pt x="121" y="241"/>
                  </a:cubicBez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0" name="Freeform 55">
              <a:extLst>
                <a:ext uri="{FF2B5EF4-FFF2-40B4-BE49-F238E27FC236}">
                  <a16:creationId xmlns:a16="http://schemas.microsoft.com/office/drawing/2014/main" id="{CF010727-0C1F-94AD-8B3A-93D5C03B5B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0" y="468"/>
              <a:ext cx="8" cy="40"/>
            </a:xfrm>
            <a:custGeom>
              <a:avLst/>
              <a:gdLst>
                <a:gd name="T0" fmla="*/ 2 w 69"/>
                <a:gd name="T1" fmla="*/ 84 h 315"/>
                <a:gd name="T2" fmla="*/ 67 w 69"/>
                <a:gd name="T3" fmla="*/ 84 h 315"/>
                <a:gd name="T4" fmla="*/ 67 w 69"/>
                <a:gd name="T5" fmla="*/ 315 h 315"/>
                <a:gd name="T6" fmla="*/ 2 w 69"/>
                <a:gd name="T7" fmla="*/ 315 h 315"/>
                <a:gd name="T8" fmla="*/ 2 w 69"/>
                <a:gd name="T9" fmla="*/ 84 h 315"/>
                <a:gd name="T10" fmla="*/ 0 w 69"/>
                <a:gd name="T11" fmla="*/ 0 h 315"/>
                <a:gd name="T12" fmla="*/ 69 w 69"/>
                <a:gd name="T13" fmla="*/ 0 h 315"/>
                <a:gd name="T14" fmla="*/ 69 w 69"/>
                <a:gd name="T15" fmla="*/ 58 h 315"/>
                <a:gd name="T16" fmla="*/ 0 w 69"/>
                <a:gd name="T17" fmla="*/ 58 h 315"/>
                <a:gd name="T18" fmla="*/ 0 w 69"/>
                <a:gd name="T1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315">
                  <a:moveTo>
                    <a:pt x="2" y="84"/>
                  </a:moveTo>
                  <a:lnTo>
                    <a:pt x="67" y="84"/>
                  </a:lnTo>
                  <a:lnTo>
                    <a:pt x="67" y="315"/>
                  </a:lnTo>
                  <a:lnTo>
                    <a:pt x="2" y="315"/>
                  </a:lnTo>
                  <a:lnTo>
                    <a:pt x="2" y="84"/>
                  </a:lnTo>
                  <a:close/>
                  <a:moveTo>
                    <a:pt x="0" y="0"/>
                  </a:moveTo>
                  <a:lnTo>
                    <a:pt x="69" y="0"/>
                  </a:lnTo>
                  <a:lnTo>
                    <a:pt x="69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1" name="Freeform 56">
              <a:extLst>
                <a:ext uri="{FF2B5EF4-FFF2-40B4-BE49-F238E27FC236}">
                  <a16:creationId xmlns:a16="http://schemas.microsoft.com/office/drawing/2014/main" id="{F09BE9BA-8FAC-C4EE-AAC7-3BA177B3ED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" y="478"/>
              <a:ext cx="26" cy="30"/>
            </a:xfrm>
            <a:custGeom>
              <a:avLst/>
              <a:gdLst>
                <a:gd name="T0" fmla="*/ 99 w 212"/>
                <a:gd name="T1" fmla="*/ 193 h 238"/>
                <a:gd name="T2" fmla="*/ 136 w 212"/>
                <a:gd name="T3" fmla="*/ 181 h 238"/>
                <a:gd name="T4" fmla="*/ 150 w 212"/>
                <a:gd name="T5" fmla="*/ 152 h 238"/>
                <a:gd name="T6" fmla="*/ 150 w 212"/>
                <a:gd name="T7" fmla="*/ 141 h 238"/>
                <a:gd name="T8" fmla="*/ 131 w 212"/>
                <a:gd name="T9" fmla="*/ 134 h 238"/>
                <a:gd name="T10" fmla="*/ 108 w 212"/>
                <a:gd name="T11" fmla="*/ 132 h 238"/>
                <a:gd name="T12" fmla="*/ 75 w 212"/>
                <a:gd name="T13" fmla="*/ 140 h 238"/>
                <a:gd name="T14" fmla="*/ 63 w 212"/>
                <a:gd name="T15" fmla="*/ 164 h 238"/>
                <a:gd name="T16" fmla="*/ 63 w 212"/>
                <a:gd name="T17" fmla="*/ 165 h 238"/>
                <a:gd name="T18" fmla="*/ 73 w 212"/>
                <a:gd name="T19" fmla="*/ 185 h 238"/>
                <a:gd name="T20" fmla="*/ 99 w 212"/>
                <a:gd name="T21" fmla="*/ 193 h 238"/>
                <a:gd name="T22" fmla="*/ 79 w 212"/>
                <a:gd name="T23" fmla="*/ 238 h 238"/>
                <a:gd name="T24" fmla="*/ 48 w 212"/>
                <a:gd name="T25" fmla="*/ 233 h 238"/>
                <a:gd name="T26" fmla="*/ 23 w 212"/>
                <a:gd name="T27" fmla="*/ 220 h 238"/>
                <a:gd name="T28" fmla="*/ 6 w 212"/>
                <a:gd name="T29" fmla="*/ 198 h 238"/>
                <a:gd name="T30" fmla="*/ 0 w 212"/>
                <a:gd name="T31" fmla="*/ 167 h 238"/>
                <a:gd name="T32" fmla="*/ 0 w 212"/>
                <a:gd name="T33" fmla="*/ 166 h 238"/>
                <a:gd name="T34" fmla="*/ 7 w 212"/>
                <a:gd name="T35" fmla="*/ 134 h 238"/>
                <a:gd name="T36" fmla="*/ 26 w 212"/>
                <a:gd name="T37" fmla="*/ 111 h 238"/>
                <a:gd name="T38" fmla="*/ 55 w 212"/>
                <a:gd name="T39" fmla="*/ 97 h 238"/>
                <a:gd name="T40" fmla="*/ 93 w 212"/>
                <a:gd name="T41" fmla="*/ 93 h 238"/>
                <a:gd name="T42" fmla="*/ 124 w 212"/>
                <a:gd name="T43" fmla="*/ 95 h 238"/>
                <a:gd name="T44" fmla="*/ 149 w 212"/>
                <a:gd name="T45" fmla="*/ 102 h 238"/>
                <a:gd name="T46" fmla="*/ 149 w 212"/>
                <a:gd name="T47" fmla="*/ 98 h 238"/>
                <a:gd name="T48" fmla="*/ 137 w 212"/>
                <a:gd name="T49" fmla="*/ 67 h 238"/>
                <a:gd name="T50" fmla="*/ 100 w 212"/>
                <a:gd name="T51" fmla="*/ 56 h 238"/>
                <a:gd name="T52" fmla="*/ 66 w 212"/>
                <a:gd name="T53" fmla="*/ 59 h 238"/>
                <a:gd name="T54" fmla="*/ 36 w 212"/>
                <a:gd name="T55" fmla="*/ 69 h 238"/>
                <a:gd name="T56" fmla="*/ 20 w 212"/>
                <a:gd name="T57" fmla="*/ 19 h 238"/>
                <a:gd name="T58" fmla="*/ 59 w 212"/>
                <a:gd name="T59" fmla="*/ 5 h 238"/>
                <a:gd name="T60" fmla="*/ 109 w 212"/>
                <a:gd name="T61" fmla="*/ 0 h 238"/>
                <a:gd name="T62" fmla="*/ 156 w 212"/>
                <a:gd name="T63" fmla="*/ 7 h 238"/>
                <a:gd name="T64" fmla="*/ 187 w 212"/>
                <a:gd name="T65" fmla="*/ 26 h 238"/>
                <a:gd name="T66" fmla="*/ 206 w 212"/>
                <a:gd name="T67" fmla="*/ 58 h 238"/>
                <a:gd name="T68" fmla="*/ 212 w 212"/>
                <a:gd name="T69" fmla="*/ 100 h 238"/>
                <a:gd name="T70" fmla="*/ 212 w 212"/>
                <a:gd name="T71" fmla="*/ 234 h 238"/>
                <a:gd name="T72" fmla="*/ 149 w 212"/>
                <a:gd name="T73" fmla="*/ 234 h 238"/>
                <a:gd name="T74" fmla="*/ 149 w 212"/>
                <a:gd name="T75" fmla="*/ 209 h 238"/>
                <a:gd name="T76" fmla="*/ 120 w 212"/>
                <a:gd name="T77" fmla="*/ 230 h 238"/>
                <a:gd name="T78" fmla="*/ 79 w 212"/>
                <a:gd name="T7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2" h="238">
                  <a:moveTo>
                    <a:pt x="99" y="193"/>
                  </a:moveTo>
                  <a:cubicBezTo>
                    <a:pt x="115" y="193"/>
                    <a:pt x="127" y="189"/>
                    <a:pt x="136" y="181"/>
                  </a:cubicBezTo>
                  <a:cubicBezTo>
                    <a:pt x="146" y="174"/>
                    <a:pt x="150" y="164"/>
                    <a:pt x="150" y="152"/>
                  </a:cubicBezTo>
                  <a:lnTo>
                    <a:pt x="150" y="141"/>
                  </a:lnTo>
                  <a:cubicBezTo>
                    <a:pt x="145" y="138"/>
                    <a:pt x="138" y="136"/>
                    <a:pt x="131" y="134"/>
                  </a:cubicBezTo>
                  <a:cubicBezTo>
                    <a:pt x="124" y="133"/>
                    <a:pt x="117" y="132"/>
                    <a:pt x="108" y="132"/>
                  </a:cubicBezTo>
                  <a:cubicBezTo>
                    <a:pt x="94" y="132"/>
                    <a:pt x="83" y="135"/>
                    <a:pt x="75" y="140"/>
                  </a:cubicBezTo>
                  <a:cubicBezTo>
                    <a:pt x="67" y="146"/>
                    <a:pt x="63" y="153"/>
                    <a:pt x="63" y="164"/>
                  </a:cubicBezTo>
                  <a:lnTo>
                    <a:pt x="63" y="165"/>
                  </a:lnTo>
                  <a:cubicBezTo>
                    <a:pt x="63" y="174"/>
                    <a:pt x="67" y="180"/>
                    <a:pt x="73" y="185"/>
                  </a:cubicBezTo>
                  <a:cubicBezTo>
                    <a:pt x="80" y="190"/>
                    <a:pt x="88" y="193"/>
                    <a:pt x="99" y="193"/>
                  </a:cubicBezTo>
                  <a:close/>
                  <a:moveTo>
                    <a:pt x="79" y="238"/>
                  </a:moveTo>
                  <a:cubicBezTo>
                    <a:pt x="68" y="238"/>
                    <a:pt x="58" y="236"/>
                    <a:pt x="48" y="233"/>
                  </a:cubicBezTo>
                  <a:cubicBezTo>
                    <a:pt x="39" y="230"/>
                    <a:pt x="30" y="226"/>
                    <a:pt x="23" y="220"/>
                  </a:cubicBezTo>
                  <a:cubicBezTo>
                    <a:pt x="16" y="214"/>
                    <a:pt x="10" y="206"/>
                    <a:pt x="6" y="198"/>
                  </a:cubicBezTo>
                  <a:cubicBezTo>
                    <a:pt x="2" y="189"/>
                    <a:pt x="0" y="179"/>
                    <a:pt x="0" y="167"/>
                  </a:cubicBezTo>
                  <a:lnTo>
                    <a:pt x="0" y="166"/>
                  </a:lnTo>
                  <a:cubicBezTo>
                    <a:pt x="0" y="154"/>
                    <a:pt x="2" y="143"/>
                    <a:pt x="7" y="134"/>
                  </a:cubicBezTo>
                  <a:cubicBezTo>
                    <a:pt x="11" y="124"/>
                    <a:pt x="18" y="117"/>
                    <a:pt x="26" y="111"/>
                  </a:cubicBezTo>
                  <a:cubicBezTo>
                    <a:pt x="34" y="105"/>
                    <a:pt x="44" y="100"/>
                    <a:pt x="55" y="97"/>
                  </a:cubicBezTo>
                  <a:cubicBezTo>
                    <a:pt x="67" y="94"/>
                    <a:pt x="79" y="93"/>
                    <a:pt x="93" y="93"/>
                  </a:cubicBezTo>
                  <a:cubicBezTo>
                    <a:pt x="105" y="93"/>
                    <a:pt x="115" y="94"/>
                    <a:pt x="124" y="95"/>
                  </a:cubicBezTo>
                  <a:cubicBezTo>
                    <a:pt x="133" y="97"/>
                    <a:pt x="141" y="99"/>
                    <a:pt x="149" y="102"/>
                  </a:cubicBezTo>
                  <a:lnTo>
                    <a:pt x="149" y="98"/>
                  </a:lnTo>
                  <a:cubicBezTo>
                    <a:pt x="149" y="85"/>
                    <a:pt x="145" y="74"/>
                    <a:pt x="137" y="67"/>
                  </a:cubicBezTo>
                  <a:cubicBezTo>
                    <a:pt x="129" y="60"/>
                    <a:pt x="116" y="56"/>
                    <a:pt x="100" y="56"/>
                  </a:cubicBezTo>
                  <a:cubicBezTo>
                    <a:pt x="87" y="56"/>
                    <a:pt x="76" y="57"/>
                    <a:pt x="66" y="59"/>
                  </a:cubicBezTo>
                  <a:cubicBezTo>
                    <a:pt x="57" y="62"/>
                    <a:pt x="47" y="65"/>
                    <a:pt x="36" y="69"/>
                  </a:cubicBezTo>
                  <a:lnTo>
                    <a:pt x="20" y="19"/>
                  </a:lnTo>
                  <a:cubicBezTo>
                    <a:pt x="32" y="13"/>
                    <a:pt x="46" y="9"/>
                    <a:pt x="59" y="5"/>
                  </a:cubicBezTo>
                  <a:cubicBezTo>
                    <a:pt x="73" y="2"/>
                    <a:pt x="90" y="0"/>
                    <a:pt x="109" y="0"/>
                  </a:cubicBezTo>
                  <a:cubicBezTo>
                    <a:pt x="127" y="0"/>
                    <a:pt x="143" y="2"/>
                    <a:pt x="156" y="7"/>
                  </a:cubicBezTo>
                  <a:cubicBezTo>
                    <a:pt x="168" y="11"/>
                    <a:pt x="179" y="18"/>
                    <a:pt x="187" y="26"/>
                  </a:cubicBezTo>
                  <a:cubicBezTo>
                    <a:pt x="196" y="35"/>
                    <a:pt x="202" y="45"/>
                    <a:pt x="206" y="58"/>
                  </a:cubicBezTo>
                  <a:cubicBezTo>
                    <a:pt x="210" y="70"/>
                    <a:pt x="212" y="84"/>
                    <a:pt x="212" y="100"/>
                  </a:cubicBezTo>
                  <a:lnTo>
                    <a:pt x="212" y="234"/>
                  </a:lnTo>
                  <a:lnTo>
                    <a:pt x="149" y="234"/>
                  </a:lnTo>
                  <a:lnTo>
                    <a:pt x="149" y="209"/>
                  </a:lnTo>
                  <a:cubicBezTo>
                    <a:pt x="141" y="218"/>
                    <a:pt x="131" y="225"/>
                    <a:pt x="120" y="230"/>
                  </a:cubicBezTo>
                  <a:cubicBezTo>
                    <a:pt x="109" y="235"/>
                    <a:pt x="95" y="238"/>
                    <a:pt x="79" y="2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pic>
        <p:nvPicPr>
          <p:cNvPr id="62" name="Imagen 13" descr="C:\Users\mperis\AppData\Local\Microsoft\Windows\INetCache\Content.Word\logo-UE-nextgeneration-color-outline.emf">
            <a:extLst>
              <a:ext uri="{FF2B5EF4-FFF2-40B4-BE49-F238E27FC236}">
                <a16:creationId xmlns:a16="http://schemas.microsoft.com/office/drawing/2014/main" id="{E8A0EA3E-0205-DFA3-23B2-BAE9A86FD30E}"/>
              </a:ext>
            </a:extLst>
          </p:cNvPr>
          <p:cNvPicPr/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1062" t="-165968" r="-51959" b="-89032"/>
          <a:stretch/>
        </p:blipFill>
        <p:spPr bwMode="auto">
          <a:xfrm>
            <a:off x="9256712" y="-207806"/>
            <a:ext cx="2775759" cy="109396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085613432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90"/>
            <a:ext cx="112522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1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6BF05-39FC-A855-E0F2-11642F7586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76220" y="282006"/>
            <a:ext cx="1372848" cy="326767"/>
          </a:xfrm>
          <a:prstGeom prst="rect">
            <a:avLst/>
          </a:prstGeom>
        </p:spPr>
      </p:pic>
      <p:grpSp>
        <p:nvGrpSpPr>
          <p:cNvPr id="8" name="Group 4">
            <a:extLst>
              <a:ext uri="{FF2B5EF4-FFF2-40B4-BE49-F238E27FC236}">
                <a16:creationId xmlns:a16="http://schemas.microsoft.com/office/drawing/2014/main" id="{E3EB41BA-3FAA-4E09-CF21-E3D85AC7267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048424" y="304102"/>
            <a:ext cx="1314450" cy="273050"/>
            <a:chOff x="1915" y="345"/>
            <a:chExt cx="828" cy="172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CB17C378-651C-5AD0-4015-FF19CB667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345"/>
              <a:ext cx="96" cy="170"/>
            </a:xfrm>
            <a:custGeom>
              <a:avLst/>
              <a:gdLst>
                <a:gd name="T0" fmla="*/ 96 w 96"/>
                <a:gd name="T1" fmla="*/ 0 h 170"/>
                <a:gd name="T2" fmla="*/ 96 w 96"/>
                <a:gd name="T3" fmla="*/ 34 h 170"/>
                <a:gd name="T4" fmla="*/ 66 w 96"/>
                <a:gd name="T5" fmla="*/ 34 h 170"/>
                <a:gd name="T6" fmla="*/ 66 w 96"/>
                <a:gd name="T7" fmla="*/ 170 h 170"/>
                <a:gd name="T8" fmla="*/ 30 w 96"/>
                <a:gd name="T9" fmla="*/ 170 h 170"/>
                <a:gd name="T10" fmla="*/ 30 w 96"/>
                <a:gd name="T11" fmla="*/ 34 h 170"/>
                <a:gd name="T12" fmla="*/ 0 w 96"/>
                <a:gd name="T13" fmla="*/ 34 h 170"/>
                <a:gd name="T14" fmla="*/ 0 w 96"/>
                <a:gd name="T15" fmla="*/ 0 h 170"/>
                <a:gd name="T16" fmla="*/ 96 w 96"/>
                <a:gd name="T1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70">
                  <a:moveTo>
                    <a:pt x="96" y="0"/>
                  </a:moveTo>
                  <a:lnTo>
                    <a:pt x="96" y="34"/>
                  </a:lnTo>
                  <a:lnTo>
                    <a:pt x="66" y="34"/>
                  </a:lnTo>
                  <a:lnTo>
                    <a:pt x="66" y="170"/>
                  </a:lnTo>
                  <a:lnTo>
                    <a:pt x="30" y="170"/>
                  </a:lnTo>
                  <a:lnTo>
                    <a:pt x="30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D21A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EAFEC3C5-2244-DB6E-D355-D28DC50F3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" y="461"/>
              <a:ext cx="76" cy="54"/>
            </a:xfrm>
            <a:custGeom>
              <a:avLst/>
              <a:gdLst>
                <a:gd name="T0" fmla="*/ 313 w 617"/>
                <a:gd name="T1" fmla="*/ 0 h 423"/>
                <a:gd name="T2" fmla="*/ 273 w 617"/>
                <a:gd name="T3" fmla="*/ 12 h 423"/>
                <a:gd name="T4" fmla="*/ 73 w 617"/>
                <a:gd name="T5" fmla="*/ 51 h 423"/>
                <a:gd name="T6" fmla="*/ 0 w 617"/>
                <a:gd name="T7" fmla="*/ 53 h 423"/>
                <a:gd name="T8" fmla="*/ 264 w 617"/>
                <a:gd name="T9" fmla="*/ 423 h 423"/>
                <a:gd name="T10" fmla="*/ 617 w 617"/>
                <a:gd name="T11" fmla="*/ 423 h 423"/>
                <a:gd name="T12" fmla="*/ 313 w 617"/>
                <a:gd name="T13" fmla="*/ 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7" h="423">
                  <a:moveTo>
                    <a:pt x="313" y="0"/>
                  </a:moveTo>
                  <a:lnTo>
                    <a:pt x="273" y="12"/>
                  </a:lnTo>
                  <a:cubicBezTo>
                    <a:pt x="208" y="33"/>
                    <a:pt x="141" y="46"/>
                    <a:pt x="73" y="51"/>
                  </a:cubicBezTo>
                  <a:lnTo>
                    <a:pt x="0" y="53"/>
                  </a:lnTo>
                  <a:lnTo>
                    <a:pt x="264" y="423"/>
                  </a:lnTo>
                  <a:lnTo>
                    <a:pt x="617" y="423"/>
                  </a:lnTo>
                  <a:lnTo>
                    <a:pt x="313" y="0"/>
                  </a:lnTo>
                  <a:close/>
                </a:path>
              </a:pathLst>
            </a:custGeom>
            <a:solidFill>
              <a:srgbClr val="D21A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B2580C25-A800-2EDB-8F20-8B69C865A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4" y="482"/>
              <a:ext cx="28" cy="26"/>
            </a:xfrm>
            <a:custGeom>
              <a:avLst/>
              <a:gdLst>
                <a:gd name="T0" fmla="*/ 28 w 28"/>
                <a:gd name="T1" fmla="*/ 10 h 26"/>
                <a:gd name="T2" fmla="*/ 18 w 28"/>
                <a:gd name="T3" fmla="*/ 10 h 26"/>
                <a:gd name="T4" fmla="*/ 16 w 28"/>
                <a:gd name="T5" fmla="*/ 0 h 26"/>
                <a:gd name="T6" fmla="*/ 11 w 28"/>
                <a:gd name="T7" fmla="*/ 9 h 26"/>
                <a:gd name="T8" fmla="*/ 0 w 28"/>
                <a:gd name="T9" fmla="*/ 8 h 26"/>
                <a:gd name="T10" fmla="*/ 7 w 28"/>
                <a:gd name="T11" fmla="*/ 15 h 26"/>
                <a:gd name="T12" fmla="*/ 2 w 28"/>
                <a:gd name="T13" fmla="*/ 25 h 26"/>
                <a:gd name="T14" fmla="*/ 12 w 28"/>
                <a:gd name="T15" fmla="*/ 20 h 26"/>
                <a:gd name="T16" fmla="*/ 22 w 28"/>
                <a:gd name="T17" fmla="*/ 26 h 26"/>
                <a:gd name="T18" fmla="*/ 19 w 28"/>
                <a:gd name="T19" fmla="*/ 16 h 26"/>
                <a:gd name="T20" fmla="*/ 28 w 28"/>
                <a:gd name="T21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0"/>
                  </a:moveTo>
                  <a:lnTo>
                    <a:pt x="18" y="10"/>
                  </a:lnTo>
                  <a:lnTo>
                    <a:pt x="16" y="0"/>
                  </a:lnTo>
                  <a:lnTo>
                    <a:pt x="11" y="9"/>
                  </a:lnTo>
                  <a:lnTo>
                    <a:pt x="0" y="8"/>
                  </a:lnTo>
                  <a:lnTo>
                    <a:pt x="7" y="15"/>
                  </a:lnTo>
                  <a:lnTo>
                    <a:pt x="2" y="25"/>
                  </a:lnTo>
                  <a:lnTo>
                    <a:pt x="12" y="20"/>
                  </a:lnTo>
                  <a:lnTo>
                    <a:pt x="22" y="26"/>
                  </a:lnTo>
                  <a:lnTo>
                    <a:pt x="19" y="16"/>
                  </a:lnTo>
                  <a:lnTo>
                    <a:pt x="28" y="10"/>
                  </a:ln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EF7174E0-FC58-3E8B-E664-C9659B9132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6" y="449"/>
              <a:ext cx="27" cy="24"/>
            </a:xfrm>
            <a:custGeom>
              <a:avLst/>
              <a:gdLst>
                <a:gd name="T0" fmla="*/ 27 w 27"/>
                <a:gd name="T1" fmla="*/ 9 h 24"/>
                <a:gd name="T2" fmla="*/ 17 w 27"/>
                <a:gd name="T3" fmla="*/ 9 h 24"/>
                <a:gd name="T4" fmla="*/ 15 w 27"/>
                <a:gd name="T5" fmla="*/ 0 h 24"/>
                <a:gd name="T6" fmla="*/ 10 w 27"/>
                <a:gd name="T7" fmla="*/ 8 h 24"/>
                <a:gd name="T8" fmla="*/ 0 w 27"/>
                <a:gd name="T9" fmla="*/ 8 h 24"/>
                <a:gd name="T10" fmla="*/ 7 w 27"/>
                <a:gd name="T11" fmla="*/ 14 h 24"/>
                <a:gd name="T12" fmla="*/ 1 w 27"/>
                <a:gd name="T13" fmla="*/ 23 h 24"/>
                <a:gd name="T14" fmla="*/ 11 w 27"/>
                <a:gd name="T15" fmla="*/ 18 h 24"/>
                <a:gd name="T16" fmla="*/ 19 w 27"/>
                <a:gd name="T17" fmla="*/ 24 h 24"/>
                <a:gd name="T18" fmla="*/ 18 w 27"/>
                <a:gd name="T19" fmla="*/ 15 h 24"/>
                <a:gd name="T20" fmla="*/ 27 w 27"/>
                <a:gd name="T2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24">
                  <a:moveTo>
                    <a:pt x="27" y="9"/>
                  </a:moveTo>
                  <a:lnTo>
                    <a:pt x="17" y="9"/>
                  </a:lnTo>
                  <a:lnTo>
                    <a:pt x="15" y="0"/>
                  </a:lnTo>
                  <a:lnTo>
                    <a:pt x="10" y="8"/>
                  </a:lnTo>
                  <a:lnTo>
                    <a:pt x="0" y="8"/>
                  </a:lnTo>
                  <a:lnTo>
                    <a:pt x="7" y="14"/>
                  </a:lnTo>
                  <a:lnTo>
                    <a:pt x="1" y="23"/>
                  </a:lnTo>
                  <a:lnTo>
                    <a:pt x="11" y="18"/>
                  </a:lnTo>
                  <a:lnTo>
                    <a:pt x="19" y="24"/>
                  </a:lnTo>
                  <a:lnTo>
                    <a:pt x="18" y="15"/>
                  </a:lnTo>
                  <a:lnTo>
                    <a:pt x="27" y="9"/>
                  </a:ln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77DCFB05-A4FA-0D72-7B0F-5AA1BF72F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5" y="414"/>
              <a:ext cx="24" cy="20"/>
            </a:xfrm>
            <a:custGeom>
              <a:avLst/>
              <a:gdLst>
                <a:gd name="T0" fmla="*/ 24 w 24"/>
                <a:gd name="T1" fmla="*/ 8 h 20"/>
                <a:gd name="T2" fmla="*/ 15 w 24"/>
                <a:gd name="T3" fmla="*/ 7 h 20"/>
                <a:gd name="T4" fmla="*/ 14 w 24"/>
                <a:gd name="T5" fmla="*/ 0 h 20"/>
                <a:gd name="T6" fmla="*/ 9 w 24"/>
                <a:gd name="T7" fmla="*/ 7 h 20"/>
                <a:gd name="T8" fmla="*/ 0 w 24"/>
                <a:gd name="T9" fmla="*/ 6 h 20"/>
                <a:gd name="T10" fmla="*/ 6 w 24"/>
                <a:gd name="T11" fmla="*/ 12 h 20"/>
                <a:gd name="T12" fmla="*/ 1 w 24"/>
                <a:gd name="T13" fmla="*/ 19 h 20"/>
                <a:gd name="T14" fmla="*/ 11 w 24"/>
                <a:gd name="T15" fmla="*/ 15 h 20"/>
                <a:gd name="T16" fmla="*/ 18 w 24"/>
                <a:gd name="T17" fmla="*/ 20 h 20"/>
                <a:gd name="T18" fmla="*/ 16 w 24"/>
                <a:gd name="T19" fmla="*/ 13 h 20"/>
                <a:gd name="T20" fmla="*/ 24 w 24"/>
                <a:gd name="T21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20">
                  <a:moveTo>
                    <a:pt x="24" y="8"/>
                  </a:moveTo>
                  <a:lnTo>
                    <a:pt x="15" y="7"/>
                  </a:lnTo>
                  <a:lnTo>
                    <a:pt x="14" y="0"/>
                  </a:lnTo>
                  <a:lnTo>
                    <a:pt x="9" y="7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" y="19"/>
                  </a:lnTo>
                  <a:lnTo>
                    <a:pt x="11" y="15"/>
                  </a:lnTo>
                  <a:lnTo>
                    <a:pt x="18" y="20"/>
                  </a:lnTo>
                  <a:lnTo>
                    <a:pt x="16" y="13"/>
                  </a:lnTo>
                  <a:lnTo>
                    <a:pt x="24" y="8"/>
                  </a:ln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4DEE5F37-7912-AF33-B162-470AB23D5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5" y="387"/>
              <a:ext cx="21" cy="16"/>
            </a:xfrm>
            <a:custGeom>
              <a:avLst/>
              <a:gdLst>
                <a:gd name="T0" fmla="*/ 21 w 21"/>
                <a:gd name="T1" fmla="*/ 6 h 16"/>
                <a:gd name="T2" fmla="*/ 13 w 21"/>
                <a:gd name="T3" fmla="*/ 6 h 16"/>
                <a:gd name="T4" fmla="*/ 12 w 21"/>
                <a:gd name="T5" fmla="*/ 0 h 16"/>
                <a:gd name="T6" fmla="*/ 8 w 21"/>
                <a:gd name="T7" fmla="*/ 6 h 16"/>
                <a:gd name="T8" fmla="*/ 0 w 21"/>
                <a:gd name="T9" fmla="*/ 5 h 16"/>
                <a:gd name="T10" fmla="*/ 5 w 21"/>
                <a:gd name="T11" fmla="*/ 9 h 16"/>
                <a:gd name="T12" fmla="*/ 0 w 21"/>
                <a:gd name="T13" fmla="*/ 15 h 16"/>
                <a:gd name="T14" fmla="*/ 9 w 21"/>
                <a:gd name="T15" fmla="*/ 12 h 16"/>
                <a:gd name="T16" fmla="*/ 15 w 21"/>
                <a:gd name="T17" fmla="*/ 16 h 16"/>
                <a:gd name="T18" fmla="*/ 14 w 21"/>
                <a:gd name="T19" fmla="*/ 10 h 16"/>
                <a:gd name="T20" fmla="*/ 21 w 21"/>
                <a:gd name="T21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6">
                  <a:moveTo>
                    <a:pt x="21" y="6"/>
                  </a:moveTo>
                  <a:lnTo>
                    <a:pt x="13" y="6"/>
                  </a:lnTo>
                  <a:lnTo>
                    <a:pt x="12" y="0"/>
                  </a:lnTo>
                  <a:lnTo>
                    <a:pt x="8" y="6"/>
                  </a:lnTo>
                  <a:lnTo>
                    <a:pt x="0" y="5"/>
                  </a:lnTo>
                  <a:lnTo>
                    <a:pt x="5" y="9"/>
                  </a:lnTo>
                  <a:lnTo>
                    <a:pt x="0" y="15"/>
                  </a:lnTo>
                  <a:lnTo>
                    <a:pt x="9" y="12"/>
                  </a:lnTo>
                  <a:lnTo>
                    <a:pt x="15" y="16"/>
                  </a:lnTo>
                  <a:lnTo>
                    <a:pt x="14" y="10"/>
                  </a:lnTo>
                  <a:lnTo>
                    <a:pt x="21" y="6"/>
                  </a:ln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0A231118-D83B-8EB2-A634-25B036003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8" y="345"/>
              <a:ext cx="94" cy="120"/>
            </a:xfrm>
            <a:custGeom>
              <a:avLst/>
              <a:gdLst>
                <a:gd name="T0" fmla="*/ 726 w 763"/>
                <a:gd name="T1" fmla="*/ 275 h 935"/>
                <a:gd name="T2" fmla="*/ 620 w 763"/>
                <a:gd name="T3" fmla="*/ 129 h 935"/>
                <a:gd name="T4" fmla="*/ 452 w 763"/>
                <a:gd name="T5" fmla="*/ 35 h 935"/>
                <a:gd name="T6" fmla="*/ 243 w 763"/>
                <a:gd name="T7" fmla="*/ 2 h 935"/>
                <a:gd name="T8" fmla="*/ 243 w 763"/>
                <a:gd name="T9" fmla="*/ 266 h 935"/>
                <a:gd name="T10" fmla="*/ 384 w 763"/>
                <a:gd name="T11" fmla="*/ 318 h 935"/>
                <a:gd name="T12" fmla="*/ 451 w 763"/>
                <a:gd name="T13" fmla="*/ 468 h 935"/>
                <a:gd name="T14" fmla="*/ 451 w 763"/>
                <a:gd name="T15" fmla="*/ 472 h 935"/>
                <a:gd name="T16" fmla="*/ 387 w 763"/>
                <a:gd name="T17" fmla="*/ 616 h 935"/>
                <a:gd name="T18" fmla="*/ 208 w 763"/>
                <a:gd name="T19" fmla="*/ 674 h 935"/>
                <a:gd name="T20" fmla="*/ 0 w 763"/>
                <a:gd name="T21" fmla="*/ 674 h 935"/>
                <a:gd name="T22" fmla="*/ 0 w 763"/>
                <a:gd name="T23" fmla="*/ 935 h 935"/>
                <a:gd name="T24" fmla="*/ 198 w 763"/>
                <a:gd name="T25" fmla="*/ 935 h 935"/>
                <a:gd name="T26" fmla="*/ 418 w 763"/>
                <a:gd name="T27" fmla="*/ 905 h 935"/>
                <a:gd name="T28" fmla="*/ 598 w 763"/>
                <a:gd name="T29" fmla="*/ 817 h 935"/>
                <a:gd name="T30" fmla="*/ 719 w 763"/>
                <a:gd name="T31" fmla="*/ 670 h 935"/>
                <a:gd name="T32" fmla="*/ 763 w 763"/>
                <a:gd name="T33" fmla="*/ 466 h 935"/>
                <a:gd name="T34" fmla="*/ 763 w 763"/>
                <a:gd name="T35" fmla="*/ 462 h 935"/>
                <a:gd name="T36" fmla="*/ 726 w 763"/>
                <a:gd name="T37" fmla="*/ 275 h 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63" h="935">
                  <a:moveTo>
                    <a:pt x="726" y="275"/>
                  </a:moveTo>
                  <a:cubicBezTo>
                    <a:pt x="701" y="219"/>
                    <a:pt x="666" y="170"/>
                    <a:pt x="620" y="129"/>
                  </a:cubicBezTo>
                  <a:cubicBezTo>
                    <a:pt x="574" y="89"/>
                    <a:pt x="518" y="57"/>
                    <a:pt x="452" y="35"/>
                  </a:cubicBezTo>
                  <a:cubicBezTo>
                    <a:pt x="345" y="0"/>
                    <a:pt x="243" y="2"/>
                    <a:pt x="243" y="2"/>
                  </a:cubicBezTo>
                  <a:cubicBezTo>
                    <a:pt x="243" y="90"/>
                    <a:pt x="244" y="177"/>
                    <a:pt x="243" y="266"/>
                  </a:cubicBezTo>
                  <a:cubicBezTo>
                    <a:pt x="290" y="271"/>
                    <a:pt x="340" y="284"/>
                    <a:pt x="384" y="318"/>
                  </a:cubicBezTo>
                  <a:cubicBezTo>
                    <a:pt x="429" y="352"/>
                    <a:pt x="451" y="402"/>
                    <a:pt x="451" y="468"/>
                  </a:cubicBezTo>
                  <a:lnTo>
                    <a:pt x="451" y="472"/>
                  </a:lnTo>
                  <a:cubicBezTo>
                    <a:pt x="451" y="529"/>
                    <a:pt x="430" y="577"/>
                    <a:pt x="387" y="616"/>
                  </a:cubicBezTo>
                  <a:cubicBezTo>
                    <a:pt x="345" y="654"/>
                    <a:pt x="285" y="674"/>
                    <a:pt x="208" y="674"/>
                  </a:cubicBezTo>
                  <a:lnTo>
                    <a:pt x="0" y="674"/>
                  </a:lnTo>
                  <a:cubicBezTo>
                    <a:pt x="0" y="762"/>
                    <a:pt x="0" y="847"/>
                    <a:pt x="0" y="935"/>
                  </a:cubicBezTo>
                  <a:lnTo>
                    <a:pt x="198" y="935"/>
                  </a:lnTo>
                  <a:cubicBezTo>
                    <a:pt x="276" y="935"/>
                    <a:pt x="350" y="925"/>
                    <a:pt x="418" y="905"/>
                  </a:cubicBezTo>
                  <a:cubicBezTo>
                    <a:pt x="487" y="885"/>
                    <a:pt x="547" y="856"/>
                    <a:pt x="598" y="817"/>
                  </a:cubicBezTo>
                  <a:cubicBezTo>
                    <a:pt x="649" y="777"/>
                    <a:pt x="689" y="728"/>
                    <a:pt x="719" y="670"/>
                  </a:cubicBezTo>
                  <a:cubicBezTo>
                    <a:pt x="748" y="612"/>
                    <a:pt x="763" y="544"/>
                    <a:pt x="763" y="466"/>
                  </a:cubicBezTo>
                  <a:lnTo>
                    <a:pt x="763" y="462"/>
                  </a:lnTo>
                  <a:cubicBezTo>
                    <a:pt x="763" y="394"/>
                    <a:pt x="750" y="331"/>
                    <a:pt x="726" y="275"/>
                  </a:cubicBez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FD707959-AB74-3A31-A5A0-D6E2B48EA8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5" y="356"/>
              <a:ext cx="29" cy="38"/>
            </a:xfrm>
            <a:custGeom>
              <a:avLst/>
              <a:gdLst>
                <a:gd name="T0" fmla="*/ 118 w 238"/>
                <a:gd name="T1" fmla="*/ 152 h 302"/>
                <a:gd name="T2" fmla="*/ 157 w 238"/>
                <a:gd name="T3" fmla="*/ 139 h 302"/>
                <a:gd name="T4" fmla="*/ 171 w 238"/>
                <a:gd name="T5" fmla="*/ 106 h 302"/>
                <a:gd name="T6" fmla="*/ 171 w 238"/>
                <a:gd name="T7" fmla="*/ 106 h 302"/>
                <a:gd name="T8" fmla="*/ 157 w 238"/>
                <a:gd name="T9" fmla="*/ 72 h 302"/>
                <a:gd name="T10" fmla="*/ 117 w 238"/>
                <a:gd name="T11" fmla="*/ 60 h 302"/>
                <a:gd name="T12" fmla="*/ 66 w 238"/>
                <a:gd name="T13" fmla="*/ 60 h 302"/>
                <a:gd name="T14" fmla="*/ 66 w 238"/>
                <a:gd name="T15" fmla="*/ 152 h 302"/>
                <a:gd name="T16" fmla="*/ 118 w 238"/>
                <a:gd name="T17" fmla="*/ 152 h 302"/>
                <a:gd name="T18" fmla="*/ 0 w 238"/>
                <a:gd name="T19" fmla="*/ 0 h 302"/>
                <a:gd name="T20" fmla="*/ 123 w 238"/>
                <a:gd name="T21" fmla="*/ 0 h 302"/>
                <a:gd name="T22" fmla="*/ 171 w 238"/>
                <a:gd name="T23" fmla="*/ 8 h 302"/>
                <a:gd name="T24" fmla="*/ 207 w 238"/>
                <a:gd name="T25" fmla="*/ 29 h 302"/>
                <a:gd name="T26" fmla="*/ 230 w 238"/>
                <a:gd name="T27" fmla="*/ 62 h 302"/>
                <a:gd name="T28" fmla="*/ 238 w 238"/>
                <a:gd name="T29" fmla="*/ 104 h 302"/>
                <a:gd name="T30" fmla="*/ 238 w 238"/>
                <a:gd name="T31" fmla="*/ 105 h 302"/>
                <a:gd name="T32" fmla="*/ 229 w 238"/>
                <a:gd name="T33" fmla="*/ 151 h 302"/>
                <a:gd name="T34" fmla="*/ 203 w 238"/>
                <a:gd name="T35" fmla="*/ 184 h 302"/>
                <a:gd name="T36" fmla="*/ 164 w 238"/>
                <a:gd name="T37" fmla="*/ 204 h 302"/>
                <a:gd name="T38" fmla="*/ 116 w 238"/>
                <a:gd name="T39" fmla="*/ 211 h 302"/>
                <a:gd name="T40" fmla="*/ 66 w 238"/>
                <a:gd name="T41" fmla="*/ 211 h 302"/>
                <a:gd name="T42" fmla="*/ 66 w 238"/>
                <a:gd name="T43" fmla="*/ 302 h 302"/>
                <a:gd name="T44" fmla="*/ 0 w 238"/>
                <a:gd name="T45" fmla="*/ 302 h 302"/>
                <a:gd name="T46" fmla="*/ 0 w 238"/>
                <a:gd name="T4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8" h="302">
                  <a:moveTo>
                    <a:pt x="118" y="152"/>
                  </a:moveTo>
                  <a:cubicBezTo>
                    <a:pt x="135" y="152"/>
                    <a:pt x="148" y="148"/>
                    <a:pt x="157" y="139"/>
                  </a:cubicBezTo>
                  <a:cubicBezTo>
                    <a:pt x="166" y="130"/>
                    <a:pt x="171" y="119"/>
                    <a:pt x="171" y="106"/>
                  </a:cubicBezTo>
                  <a:lnTo>
                    <a:pt x="171" y="106"/>
                  </a:lnTo>
                  <a:cubicBezTo>
                    <a:pt x="171" y="91"/>
                    <a:pt x="166" y="79"/>
                    <a:pt x="157" y="72"/>
                  </a:cubicBezTo>
                  <a:cubicBezTo>
                    <a:pt x="147" y="64"/>
                    <a:pt x="134" y="60"/>
                    <a:pt x="117" y="60"/>
                  </a:cubicBezTo>
                  <a:lnTo>
                    <a:pt x="66" y="60"/>
                  </a:lnTo>
                  <a:lnTo>
                    <a:pt x="66" y="152"/>
                  </a:lnTo>
                  <a:lnTo>
                    <a:pt x="118" y="152"/>
                  </a:lnTo>
                  <a:close/>
                  <a:moveTo>
                    <a:pt x="0" y="0"/>
                  </a:moveTo>
                  <a:lnTo>
                    <a:pt x="123" y="0"/>
                  </a:lnTo>
                  <a:cubicBezTo>
                    <a:pt x="141" y="0"/>
                    <a:pt x="157" y="3"/>
                    <a:pt x="171" y="8"/>
                  </a:cubicBezTo>
                  <a:cubicBezTo>
                    <a:pt x="185" y="13"/>
                    <a:pt x="197" y="20"/>
                    <a:pt x="207" y="29"/>
                  </a:cubicBezTo>
                  <a:cubicBezTo>
                    <a:pt x="217" y="38"/>
                    <a:pt x="225" y="49"/>
                    <a:pt x="230" y="62"/>
                  </a:cubicBezTo>
                  <a:cubicBezTo>
                    <a:pt x="236" y="75"/>
                    <a:pt x="238" y="89"/>
                    <a:pt x="238" y="104"/>
                  </a:cubicBezTo>
                  <a:lnTo>
                    <a:pt x="238" y="105"/>
                  </a:lnTo>
                  <a:cubicBezTo>
                    <a:pt x="238" y="123"/>
                    <a:pt x="235" y="138"/>
                    <a:pt x="229" y="151"/>
                  </a:cubicBezTo>
                  <a:cubicBezTo>
                    <a:pt x="222" y="164"/>
                    <a:pt x="214" y="175"/>
                    <a:pt x="203" y="184"/>
                  </a:cubicBezTo>
                  <a:cubicBezTo>
                    <a:pt x="192" y="193"/>
                    <a:pt x="179" y="200"/>
                    <a:pt x="164" y="204"/>
                  </a:cubicBezTo>
                  <a:cubicBezTo>
                    <a:pt x="149" y="209"/>
                    <a:pt x="133" y="211"/>
                    <a:pt x="116" y="211"/>
                  </a:cubicBezTo>
                  <a:lnTo>
                    <a:pt x="66" y="211"/>
                  </a:lnTo>
                  <a:lnTo>
                    <a:pt x="66" y="302"/>
                  </a:lnTo>
                  <a:lnTo>
                    <a:pt x="0" y="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Rectangle 13">
              <a:extLst>
                <a:ext uri="{FF2B5EF4-FFF2-40B4-BE49-F238E27FC236}">
                  <a16:creationId xmlns:a16="http://schemas.microsoft.com/office/drawing/2014/main" id="{86DBF187-ABDE-BD6A-DD84-4EFC3DEAA5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0" y="354"/>
              <a:ext cx="8" cy="40"/>
            </a:xfrm>
            <a:prstGeom prst="rect">
              <a:avLst/>
            </a:pr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805847D2-AA08-6A4C-21F6-6D32C13E8C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" y="364"/>
              <a:ext cx="26" cy="31"/>
            </a:xfrm>
            <a:custGeom>
              <a:avLst/>
              <a:gdLst>
                <a:gd name="T0" fmla="*/ 99 w 212"/>
                <a:gd name="T1" fmla="*/ 193 h 238"/>
                <a:gd name="T2" fmla="*/ 136 w 212"/>
                <a:gd name="T3" fmla="*/ 181 h 238"/>
                <a:gd name="T4" fmla="*/ 150 w 212"/>
                <a:gd name="T5" fmla="*/ 152 h 238"/>
                <a:gd name="T6" fmla="*/ 150 w 212"/>
                <a:gd name="T7" fmla="*/ 141 h 238"/>
                <a:gd name="T8" fmla="*/ 131 w 212"/>
                <a:gd name="T9" fmla="*/ 134 h 238"/>
                <a:gd name="T10" fmla="*/ 108 w 212"/>
                <a:gd name="T11" fmla="*/ 132 h 238"/>
                <a:gd name="T12" fmla="*/ 75 w 212"/>
                <a:gd name="T13" fmla="*/ 140 h 238"/>
                <a:gd name="T14" fmla="*/ 63 w 212"/>
                <a:gd name="T15" fmla="*/ 164 h 238"/>
                <a:gd name="T16" fmla="*/ 63 w 212"/>
                <a:gd name="T17" fmla="*/ 165 h 238"/>
                <a:gd name="T18" fmla="*/ 73 w 212"/>
                <a:gd name="T19" fmla="*/ 185 h 238"/>
                <a:gd name="T20" fmla="*/ 99 w 212"/>
                <a:gd name="T21" fmla="*/ 193 h 238"/>
                <a:gd name="T22" fmla="*/ 79 w 212"/>
                <a:gd name="T23" fmla="*/ 238 h 238"/>
                <a:gd name="T24" fmla="*/ 48 w 212"/>
                <a:gd name="T25" fmla="*/ 233 h 238"/>
                <a:gd name="T26" fmla="*/ 23 w 212"/>
                <a:gd name="T27" fmla="*/ 220 h 238"/>
                <a:gd name="T28" fmla="*/ 6 w 212"/>
                <a:gd name="T29" fmla="*/ 198 h 238"/>
                <a:gd name="T30" fmla="*/ 0 w 212"/>
                <a:gd name="T31" fmla="*/ 167 h 238"/>
                <a:gd name="T32" fmla="*/ 0 w 212"/>
                <a:gd name="T33" fmla="*/ 166 h 238"/>
                <a:gd name="T34" fmla="*/ 7 w 212"/>
                <a:gd name="T35" fmla="*/ 134 h 238"/>
                <a:gd name="T36" fmla="*/ 26 w 212"/>
                <a:gd name="T37" fmla="*/ 111 h 238"/>
                <a:gd name="T38" fmla="*/ 55 w 212"/>
                <a:gd name="T39" fmla="*/ 97 h 238"/>
                <a:gd name="T40" fmla="*/ 93 w 212"/>
                <a:gd name="T41" fmla="*/ 93 h 238"/>
                <a:gd name="T42" fmla="*/ 124 w 212"/>
                <a:gd name="T43" fmla="*/ 95 h 238"/>
                <a:gd name="T44" fmla="*/ 149 w 212"/>
                <a:gd name="T45" fmla="*/ 102 h 238"/>
                <a:gd name="T46" fmla="*/ 149 w 212"/>
                <a:gd name="T47" fmla="*/ 98 h 238"/>
                <a:gd name="T48" fmla="*/ 137 w 212"/>
                <a:gd name="T49" fmla="*/ 67 h 238"/>
                <a:gd name="T50" fmla="*/ 100 w 212"/>
                <a:gd name="T51" fmla="*/ 56 h 238"/>
                <a:gd name="T52" fmla="*/ 66 w 212"/>
                <a:gd name="T53" fmla="*/ 59 h 238"/>
                <a:gd name="T54" fmla="*/ 36 w 212"/>
                <a:gd name="T55" fmla="*/ 69 h 238"/>
                <a:gd name="T56" fmla="*/ 20 w 212"/>
                <a:gd name="T57" fmla="*/ 19 h 238"/>
                <a:gd name="T58" fmla="*/ 59 w 212"/>
                <a:gd name="T59" fmla="*/ 5 h 238"/>
                <a:gd name="T60" fmla="*/ 109 w 212"/>
                <a:gd name="T61" fmla="*/ 0 h 238"/>
                <a:gd name="T62" fmla="*/ 155 w 212"/>
                <a:gd name="T63" fmla="*/ 7 h 238"/>
                <a:gd name="T64" fmla="*/ 187 w 212"/>
                <a:gd name="T65" fmla="*/ 26 h 238"/>
                <a:gd name="T66" fmla="*/ 206 w 212"/>
                <a:gd name="T67" fmla="*/ 58 h 238"/>
                <a:gd name="T68" fmla="*/ 212 w 212"/>
                <a:gd name="T69" fmla="*/ 100 h 238"/>
                <a:gd name="T70" fmla="*/ 212 w 212"/>
                <a:gd name="T71" fmla="*/ 234 h 238"/>
                <a:gd name="T72" fmla="*/ 149 w 212"/>
                <a:gd name="T73" fmla="*/ 234 h 238"/>
                <a:gd name="T74" fmla="*/ 149 w 212"/>
                <a:gd name="T75" fmla="*/ 209 h 238"/>
                <a:gd name="T76" fmla="*/ 120 w 212"/>
                <a:gd name="T77" fmla="*/ 230 h 238"/>
                <a:gd name="T78" fmla="*/ 79 w 212"/>
                <a:gd name="T7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2" h="238">
                  <a:moveTo>
                    <a:pt x="99" y="193"/>
                  </a:moveTo>
                  <a:cubicBezTo>
                    <a:pt x="114" y="193"/>
                    <a:pt x="127" y="189"/>
                    <a:pt x="136" y="181"/>
                  </a:cubicBezTo>
                  <a:cubicBezTo>
                    <a:pt x="145" y="174"/>
                    <a:pt x="150" y="164"/>
                    <a:pt x="150" y="152"/>
                  </a:cubicBezTo>
                  <a:lnTo>
                    <a:pt x="150" y="141"/>
                  </a:lnTo>
                  <a:cubicBezTo>
                    <a:pt x="144" y="138"/>
                    <a:pt x="138" y="136"/>
                    <a:pt x="131" y="134"/>
                  </a:cubicBezTo>
                  <a:cubicBezTo>
                    <a:pt x="124" y="133"/>
                    <a:pt x="116" y="132"/>
                    <a:pt x="108" y="132"/>
                  </a:cubicBezTo>
                  <a:cubicBezTo>
                    <a:pt x="94" y="132"/>
                    <a:pt x="83" y="135"/>
                    <a:pt x="75" y="140"/>
                  </a:cubicBezTo>
                  <a:cubicBezTo>
                    <a:pt x="67" y="146"/>
                    <a:pt x="63" y="153"/>
                    <a:pt x="63" y="164"/>
                  </a:cubicBezTo>
                  <a:lnTo>
                    <a:pt x="63" y="165"/>
                  </a:lnTo>
                  <a:cubicBezTo>
                    <a:pt x="63" y="174"/>
                    <a:pt x="66" y="180"/>
                    <a:pt x="73" y="185"/>
                  </a:cubicBezTo>
                  <a:cubicBezTo>
                    <a:pt x="80" y="190"/>
                    <a:pt x="88" y="193"/>
                    <a:pt x="99" y="193"/>
                  </a:cubicBezTo>
                  <a:close/>
                  <a:moveTo>
                    <a:pt x="79" y="238"/>
                  </a:moveTo>
                  <a:cubicBezTo>
                    <a:pt x="68" y="238"/>
                    <a:pt x="58" y="236"/>
                    <a:pt x="48" y="233"/>
                  </a:cubicBezTo>
                  <a:cubicBezTo>
                    <a:pt x="39" y="230"/>
                    <a:pt x="30" y="226"/>
                    <a:pt x="23" y="220"/>
                  </a:cubicBezTo>
                  <a:cubicBezTo>
                    <a:pt x="16" y="214"/>
                    <a:pt x="10" y="206"/>
                    <a:pt x="6" y="198"/>
                  </a:cubicBezTo>
                  <a:cubicBezTo>
                    <a:pt x="2" y="189"/>
                    <a:pt x="0" y="179"/>
                    <a:pt x="0" y="167"/>
                  </a:cubicBezTo>
                  <a:lnTo>
                    <a:pt x="0" y="166"/>
                  </a:lnTo>
                  <a:cubicBezTo>
                    <a:pt x="0" y="154"/>
                    <a:pt x="2" y="143"/>
                    <a:pt x="7" y="134"/>
                  </a:cubicBezTo>
                  <a:cubicBezTo>
                    <a:pt x="11" y="124"/>
                    <a:pt x="18" y="117"/>
                    <a:pt x="26" y="111"/>
                  </a:cubicBezTo>
                  <a:cubicBezTo>
                    <a:pt x="34" y="105"/>
                    <a:pt x="44" y="100"/>
                    <a:pt x="55" y="97"/>
                  </a:cubicBezTo>
                  <a:cubicBezTo>
                    <a:pt x="66" y="94"/>
                    <a:pt x="79" y="93"/>
                    <a:pt x="93" y="93"/>
                  </a:cubicBezTo>
                  <a:cubicBezTo>
                    <a:pt x="105" y="93"/>
                    <a:pt x="115" y="94"/>
                    <a:pt x="124" y="95"/>
                  </a:cubicBezTo>
                  <a:cubicBezTo>
                    <a:pt x="132" y="97"/>
                    <a:pt x="141" y="99"/>
                    <a:pt x="149" y="102"/>
                  </a:cubicBezTo>
                  <a:lnTo>
                    <a:pt x="149" y="98"/>
                  </a:lnTo>
                  <a:cubicBezTo>
                    <a:pt x="149" y="85"/>
                    <a:pt x="145" y="74"/>
                    <a:pt x="137" y="67"/>
                  </a:cubicBezTo>
                  <a:cubicBezTo>
                    <a:pt x="128" y="60"/>
                    <a:pt x="116" y="56"/>
                    <a:pt x="100" y="56"/>
                  </a:cubicBezTo>
                  <a:cubicBezTo>
                    <a:pt x="87" y="56"/>
                    <a:pt x="76" y="57"/>
                    <a:pt x="66" y="59"/>
                  </a:cubicBezTo>
                  <a:cubicBezTo>
                    <a:pt x="57" y="61"/>
                    <a:pt x="47" y="65"/>
                    <a:pt x="36" y="69"/>
                  </a:cubicBezTo>
                  <a:lnTo>
                    <a:pt x="20" y="19"/>
                  </a:lnTo>
                  <a:cubicBezTo>
                    <a:pt x="32" y="13"/>
                    <a:pt x="45" y="9"/>
                    <a:pt x="59" y="5"/>
                  </a:cubicBezTo>
                  <a:cubicBezTo>
                    <a:pt x="73" y="2"/>
                    <a:pt x="90" y="0"/>
                    <a:pt x="109" y="0"/>
                  </a:cubicBezTo>
                  <a:cubicBezTo>
                    <a:pt x="127" y="0"/>
                    <a:pt x="143" y="2"/>
                    <a:pt x="155" y="7"/>
                  </a:cubicBezTo>
                  <a:cubicBezTo>
                    <a:pt x="168" y="11"/>
                    <a:pt x="179" y="18"/>
                    <a:pt x="187" y="26"/>
                  </a:cubicBezTo>
                  <a:cubicBezTo>
                    <a:pt x="196" y="35"/>
                    <a:pt x="202" y="45"/>
                    <a:pt x="206" y="58"/>
                  </a:cubicBezTo>
                  <a:cubicBezTo>
                    <a:pt x="210" y="70"/>
                    <a:pt x="212" y="84"/>
                    <a:pt x="212" y="100"/>
                  </a:cubicBezTo>
                  <a:lnTo>
                    <a:pt x="212" y="234"/>
                  </a:lnTo>
                  <a:lnTo>
                    <a:pt x="149" y="234"/>
                  </a:lnTo>
                  <a:lnTo>
                    <a:pt x="149" y="209"/>
                  </a:lnTo>
                  <a:cubicBezTo>
                    <a:pt x="141" y="217"/>
                    <a:pt x="131" y="225"/>
                    <a:pt x="120" y="230"/>
                  </a:cubicBezTo>
                  <a:cubicBezTo>
                    <a:pt x="109" y="235"/>
                    <a:pt x="95" y="238"/>
                    <a:pt x="79" y="2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8A6C79BD-A5C2-EBAB-320C-3E8094224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7" y="364"/>
              <a:ext cx="27" cy="30"/>
            </a:xfrm>
            <a:custGeom>
              <a:avLst/>
              <a:gdLst>
                <a:gd name="T0" fmla="*/ 0 w 211"/>
                <a:gd name="T1" fmla="*/ 5 h 236"/>
                <a:gd name="T2" fmla="*/ 65 w 211"/>
                <a:gd name="T3" fmla="*/ 5 h 236"/>
                <a:gd name="T4" fmla="*/ 65 w 211"/>
                <a:gd name="T5" fmla="*/ 38 h 236"/>
                <a:gd name="T6" fmla="*/ 77 w 211"/>
                <a:gd name="T7" fmla="*/ 24 h 236"/>
                <a:gd name="T8" fmla="*/ 92 w 211"/>
                <a:gd name="T9" fmla="*/ 12 h 236"/>
                <a:gd name="T10" fmla="*/ 110 w 211"/>
                <a:gd name="T11" fmla="*/ 3 h 236"/>
                <a:gd name="T12" fmla="*/ 133 w 211"/>
                <a:gd name="T13" fmla="*/ 0 h 236"/>
                <a:gd name="T14" fmla="*/ 191 w 211"/>
                <a:gd name="T15" fmla="*/ 23 h 236"/>
                <a:gd name="T16" fmla="*/ 211 w 211"/>
                <a:gd name="T17" fmla="*/ 86 h 236"/>
                <a:gd name="T18" fmla="*/ 211 w 211"/>
                <a:gd name="T19" fmla="*/ 236 h 236"/>
                <a:gd name="T20" fmla="*/ 146 w 211"/>
                <a:gd name="T21" fmla="*/ 236 h 236"/>
                <a:gd name="T22" fmla="*/ 146 w 211"/>
                <a:gd name="T23" fmla="*/ 107 h 236"/>
                <a:gd name="T24" fmla="*/ 135 w 211"/>
                <a:gd name="T25" fmla="*/ 72 h 236"/>
                <a:gd name="T26" fmla="*/ 106 w 211"/>
                <a:gd name="T27" fmla="*/ 60 h 236"/>
                <a:gd name="T28" fmla="*/ 76 w 211"/>
                <a:gd name="T29" fmla="*/ 72 h 236"/>
                <a:gd name="T30" fmla="*/ 65 w 211"/>
                <a:gd name="T31" fmla="*/ 107 h 236"/>
                <a:gd name="T32" fmla="*/ 65 w 211"/>
                <a:gd name="T33" fmla="*/ 236 h 236"/>
                <a:gd name="T34" fmla="*/ 0 w 211"/>
                <a:gd name="T35" fmla="*/ 236 h 236"/>
                <a:gd name="T36" fmla="*/ 0 w 211"/>
                <a:gd name="T37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1" h="236">
                  <a:moveTo>
                    <a:pt x="0" y="5"/>
                  </a:moveTo>
                  <a:lnTo>
                    <a:pt x="65" y="5"/>
                  </a:lnTo>
                  <a:lnTo>
                    <a:pt x="65" y="38"/>
                  </a:lnTo>
                  <a:cubicBezTo>
                    <a:pt x="69" y="33"/>
                    <a:pt x="73" y="28"/>
                    <a:pt x="77" y="24"/>
                  </a:cubicBezTo>
                  <a:cubicBezTo>
                    <a:pt x="82" y="19"/>
                    <a:pt x="87" y="15"/>
                    <a:pt x="92" y="12"/>
                  </a:cubicBezTo>
                  <a:cubicBezTo>
                    <a:pt x="98" y="8"/>
                    <a:pt x="104" y="5"/>
                    <a:pt x="110" y="3"/>
                  </a:cubicBezTo>
                  <a:cubicBezTo>
                    <a:pt x="117" y="1"/>
                    <a:pt x="124" y="0"/>
                    <a:pt x="133" y="0"/>
                  </a:cubicBezTo>
                  <a:cubicBezTo>
                    <a:pt x="158" y="0"/>
                    <a:pt x="177" y="8"/>
                    <a:pt x="191" y="23"/>
                  </a:cubicBezTo>
                  <a:cubicBezTo>
                    <a:pt x="204" y="38"/>
                    <a:pt x="211" y="59"/>
                    <a:pt x="211" y="86"/>
                  </a:cubicBezTo>
                  <a:lnTo>
                    <a:pt x="211" y="236"/>
                  </a:lnTo>
                  <a:lnTo>
                    <a:pt x="146" y="236"/>
                  </a:lnTo>
                  <a:lnTo>
                    <a:pt x="146" y="107"/>
                  </a:lnTo>
                  <a:cubicBezTo>
                    <a:pt x="146" y="92"/>
                    <a:pt x="142" y="80"/>
                    <a:pt x="135" y="72"/>
                  </a:cubicBezTo>
                  <a:cubicBezTo>
                    <a:pt x="128" y="64"/>
                    <a:pt x="119" y="60"/>
                    <a:pt x="106" y="60"/>
                  </a:cubicBezTo>
                  <a:cubicBezTo>
                    <a:pt x="93" y="60"/>
                    <a:pt x="83" y="64"/>
                    <a:pt x="76" y="72"/>
                  </a:cubicBezTo>
                  <a:cubicBezTo>
                    <a:pt x="69" y="80"/>
                    <a:pt x="65" y="92"/>
                    <a:pt x="65" y="107"/>
                  </a:cubicBezTo>
                  <a:lnTo>
                    <a:pt x="65" y="236"/>
                  </a:lnTo>
                  <a:lnTo>
                    <a:pt x="0" y="236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A607387F-BA30-FC74-806C-E909864A4F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5" y="354"/>
              <a:ext cx="30" cy="41"/>
            </a:xfrm>
            <a:custGeom>
              <a:avLst/>
              <a:gdLst>
                <a:gd name="T0" fmla="*/ 122 w 242"/>
                <a:gd name="T1" fmla="*/ 263 h 319"/>
                <a:gd name="T2" fmla="*/ 144 w 242"/>
                <a:gd name="T3" fmla="*/ 259 h 319"/>
                <a:gd name="T4" fmla="*/ 161 w 242"/>
                <a:gd name="T5" fmla="*/ 246 h 319"/>
                <a:gd name="T6" fmla="*/ 173 w 242"/>
                <a:gd name="T7" fmla="*/ 226 h 319"/>
                <a:gd name="T8" fmla="*/ 178 w 242"/>
                <a:gd name="T9" fmla="*/ 200 h 319"/>
                <a:gd name="T10" fmla="*/ 178 w 242"/>
                <a:gd name="T11" fmla="*/ 199 h 319"/>
                <a:gd name="T12" fmla="*/ 173 w 242"/>
                <a:gd name="T13" fmla="*/ 173 h 319"/>
                <a:gd name="T14" fmla="*/ 161 w 242"/>
                <a:gd name="T15" fmla="*/ 152 h 319"/>
                <a:gd name="T16" fmla="*/ 144 w 242"/>
                <a:gd name="T17" fmla="*/ 139 h 319"/>
                <a:gd name="T18" fmla="*/ 122 w 242"/>
                <a:gd name="T19" fmla="*/ 135 h 319"/>
                <a:gd name="T20" fmla="*/ 100 w 242"/>
                <a:gd name="T21" fmla="*/ 139 h 319"/>
                <a:gd name="T22" fmla="*/ 82 w 242"/>
                <a:gd name="T23" fmla="*/ 152 h 319"/>
                <a:gd name="T24" fmla="*/ 70 w 242"/>
                <a:gd name="T25" fmla="*/ 172 h 319"/>
                <a:gd name="T26" fmla="*/ 65 w 242"/>
                <a:gd name="T27" fmla="*/ 199 h 319"/>
                <a:gd name="T28" fmla="*/ 65 w 242"/>
                <a:gd name="T29" fmla="*/ 200 h 319"/>
                <a:gd name="T30" fmla="*/ 70 w 242"/>
                <a:gd name="T31" fmla="*/ 226 h 319"/>
                <a:gd name="T32" fmla="*/ 82 w 242"/>
                <a:gd name="T33" fmla="*/ 246 h 319"/>
                <a:gd name="T34" fmla="*/ 100 w 242"/>
                <a:gd name="T35" fmla="*/ 259 h 319"/>
                <a:gd name="T36" fmla="*/ 122 w 242"/>
                <a:gd name="T37" fmla="*/ 263 h 319"/>
                <a:gd name="T38" fmla="*/ 105 w 242"/>
                <a:gd name="T39" fmla="*/ 319 h 319"/>
                <a:gd name="T40" fmla="*/ 66 w 242"/>
                <a:gd name="T41" fmla="*/ 311 h 319"/>
                <a:gd name="T42" fmla="*/ 32 w 242"/>
                <a:gd name="T43" fmla="*/ 288 h 319"/>
                <a:gd name="T44" fmla="*/ 9 w 242"/>
                <a:gd name="T45" fmla="*/ 251 h 319"/>
                <a:gd name="T46" fmla="*/ 0 w 242"/>
                <a:gd name="T47" fmla="*/ 200 h 319"/>
                <a:gd name="T48" fmla="*/ 0 w 242"/>
                <a:gd name="T49" fmla="*/ 199 h 319"/>
                <a:gd name="T50" fmla="*/ 9 w 242"/>
                <a:gd name="T51" fmla="*/ 148 h 319"/>
                <a:gd name="T52" fmla="*/ 32 w 242"/>
                <a:gd name="T53" fmla="*/ 110 h 319"/>
                <a:gd name="T54" fmla="*/ 65 w 242"/>
                <a:gd name="T55" fmla="*/ 87 h 319"/>
                <a:gd name="T56" fmla="*/ 105 w 242"/>
                <a:gd name="T57" fmla="*/ 79 h 319"/>
                <a:gd name="T58" fmla="*/ 148 w 242"/>
                <a:gd name="T59" fmla="*/ 90 h 319"/>
                <a:gd name="T60" fmla="*/ 177 w 242"/>
                <a:gd name="T61" fmla="*/ 114 h 319"/>
                <a:gd name="T62" fmla="*/ 177 w 242"/>
                <a:gd name="T63" fmla="*/ 0 h 319"/>
                <a:gd name="T64" fmla="*/ 242 w 242"/>
                <a:gd name="T65" fmla="*/ 0 h 319"/>
                <a:gd name="T66" fmla="*/ 242 w 242"/>
                <a:gd name="T67" fmla="*/ 315 h 319"/>
                <a:gd name="T68" fmla="*/ 177 w 242"/>
                <a:gd name="T69" fmla="*/ 315 h 319"/>
                <a:gd name="T70" fmla="*/ 177 w 242"/>
                <a:gd name="T71" fmla="*/ 281 h 319"/>
                <a:gd name="T72" fmla="*/ 148 w 242"/>
                <a:gd name="T73" fmla="*/ 308 h 319"/>
                <a:gd name="T74" fmla="*/ 105 w 242"/>
                <a:gd name="T75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2" h="319">
                  <a:moveTo>
                    <a:pt x="122" y="263"/>
                  </a:moveTo>
                  <a:cubicBezTo>
                    <a:pt x="130" y="263"/>
                    <a:pt x="137" y="262"/>
                    <a:pt x="144" y="259"/>
                  </a:cubicBezTo>
                  <a:cubicBezTo>
                    <a:pt x="150" y="256"/>
                    <a:pt x="156" y="251"/>
                    <a:pt x="161" y="246"/>
                  </a:cubicBezTo>
                  <a:cubicBezTo>
                    <a:pt x="166" y="240"/>
                    <a:pt x="170" y="234"/>
                    <a:pt x="173" y="226"/>
                  </a:cubicBezTo>
                  <a:cubicBezTo>
                    <a:pt x="176" y="218"/>
                    <a:pt x="178" y="209"/>
                    <a:pt x="178" y="200"/>
                  </a:cubicBezTo>
                  <a:lnTo>
                    <a:pt x="178" y="199"/>
                  </a:lnTo>
                  <a:cubicBezTo>
                    <a:pt x="178" y="189"/>
                    <a:pt x="176" y="181"/>
                    <a:pt x="173" y="173"/>
                  </a:cubicBezTo>
                  <a:cubicBezTo>
                    <a:pt x="170" y="165"/>
                    <a:pt x="166" y="158"/>
                    <a:pt x="161" y="152"/>
                  </a:cubicBezTo>
                  <a:cubicBezTo>
                    <a:pt x="156" y="147"/>
                    <a:pt x="150" y="142"/>
                    <a:pt x="144" y="139"/>
                  </a:cubicBezTo>
                  <a:cubicBezTo>
                    <a:pt x="137" y="136"/>
                    <a:pt x="130" y="135"/>
                    <a:pt x="122" y="135"/>
                  </a:cubicBezTo>
                  <a:cubicBezTo>
                    <a:pt x="114" y="135"/>
                    <a:pt x="107" y="136"/>
                    <a:pt x="100" y="139"/>
                  </a:cubicBezTo>
                  <a:cubicBezTo>
                    <a:pt x="93" y="142"/>
                    <a:pt x="87" y="147"/>
                    <a:pt x="82" y="152"/>
                  </a:cubicBezTo>
                  <a:cubicBezTo>
                    <a:pt x="77" y="158"/>
                    <a:pt x="73" y="165"/>
                    <a:pt x="70" y="172"/>
                  </a:cubicBezTo>
                  <a:cubicBezTo>
                    <a:pt x="67" y="180"/>
                    <a:pt x="65" y="189"/>
                    <a:pt x="65" y="199"/>
                  </a:cubicBezTo>
                  <a:lnTo>
                    <a:pt x="65" y="200"/>
                  </a:lnTo>
                  <a:cubicBezTo>
                    <a:pt x="65" y="209"/>
                    <a:pt x="67" y="218"/>
                    <a:pt x="70" y="226"/>
                  </a:cubicBezTo>
                  <a:cubicBezTo>
                    <a:pt x="73" y="234"/>
                    <a:pt x="77" y="240"/>
                    <a:pt x="82" y="246"/>
                  </a:cubicBezTo>
                  <a:cubicBezTo>
                    <a:pt x="87" y="251"/>
                    <a:pt x="93" y="256"/>
                    <a:pt x="100" y="259"/>
                  </a:cubicBezTo>
                  <a:cubicBezTo>
                    <a:pt x="107" y="262"/>
                    <a:pt x="114" y="263"/>
                    <a:pt x="122" y="263"/>
                  </a:cubicBezTo>
                  <a:close/>
                  <a:moveTo>
                    <a:pt x="105" y="319"/>
                  </a:moveTo>
                  <a:cubicBezTo>
                    <a:pt x="91" y="319"/>
                    <a:pt x="78" y="316"/>
                    <a:pt x="66" y="311"/>
                  </a:cubicBezTo>
                  <a:cubicBezTo>
                    <a:pt x="53" y="306"/>
                    <a:pt x="42" y="298"/>
                    <a:pt x="32" y="288"/>
                  </a:cubicBezTo>
                  <a:cubicBezTo>
                    <a:pt x="22" y="278"/>
                    <a:pt x="15" y="265"/>
                    <a:pt x="9" y="251"/>
                  </a:cubicBezTo>
                  <a:cubicBezTo>
                    <a:pt x="3" y="236"/>
                    <a:pt x="0" y="219"/>
                    <a:pt x="0" y="200"/>
                  </a:cubicBezTo>
                  <a:lnTo>
                    <a:pt x="0" y="199"/>
                  </a:lnTo>
                  <a:cubicBezTo>
                    <a:pt x="0" y="179"/>
                    <a:pt x="3" y="162"/>
                    <a:pt x="9" y="148"/>
                  </a:cubicBezTo>
                  <a:cubicBezTo>
                    <a:pt x="15" y="133"/>
                    <a:pt x="22" y="120"/>
                    <a:pt x="32" y="110"/>
                  </a:cubicBezTo>
                  <a:cubicBezTo>
                    <a:pt x="42" y="100"/>
                    <a:pt x="53" y="92"/>
                    <a:pt x="65" y="87"/>
                  </a:cubicBezTo>
                  <a:cubicBezTo>
                    <a:pt x="78" y="82"/>
                    <a:pt x="91" y="79"/>
                    <a:pt x="105" y="79"/>
                  </a:cubicBezTo>
                  <a:cubicBezTo>
                    <a:pt x="122" y="79"/>
                    <a:pt x="137" y="83"/>
                    <a:pt x="148" y="90"/>
                  </a:cubicBezTo>
                  <a:cubicBezTo>
                    <a:pt x="160" y="97"/>
                    <a:pt x="169" y="105"/>
                    <a:pt x="177" y="114"/>
                  </a:cubicBezTo>
                  <a:lnTo>
                    <a:pt x="177" y="0"/>
                  </a:lnTo>
                  <a:lnTo>
                    <a:pt x="242" y="0"/>
                  </a:lnTo>
                  <a:lnTo>
                    <a:pt x="242" y="315"/>
                  </a:lnTo>
                  <a:lnTo>
                    <a:pt x="177" y="315"/>
                  </a:lnTo>
                  <a:lnTo>
                    <a:pt x="177" y="281"/>
                  </a:lnTo>
                  <a:cubicBezTo>
                    <a:pt x="169" y="292"/>
                    <a:pt x="159" y="301"/>
                    <a:pt x="148" y="308"/>
                  </a:cubicBezTo>
                  <a:cubicBezTo>
                    <a:pt x="136" y="315"/>
                    <a:pt x="122" y="319"/>
                    <a:pt x="105" y="319"/>
                  </a:cubicBez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D2056E66-7846-329F-84E6-781A6CC36C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1" y="364"/>
              <a:ext cx="28" cy="31"/>
            </a:xfrm>
            <a:custGeom>
              <a:avLst/>
              <a:gdLst>
                <a:gd name="T0" fmla="*/ 163 w 226"/>
                <a:gd name="T1" fmla="*/ 102 h 241"/>
                <a:gd name="T2" fmla="*/ 147 w 226"/>
                <a:gd name="T3" fmla="*/ 66 h 241"/>
                <a:gd name="T4" fmla="*/ 114 w 226"/>
                <a:gd name="T5" fmla="*/ 53 h 241"/>
                <a:gd name="T6" fmla="*/ 81 w 226"/>
                <a:gd name="T7" fmla="*/ 66 h 241"/>
                <a:gd name="T8" fmla="*/ 64 w 226"/>
                <a:gd name="T9" fmla="*/ 102 h 241"/>
                <a:gd name="T10" fmla="*/ 163 w 226"/>
                <a:gd name="T11" fmla="*/ 102 h 241"/>
                <a:gd name="T12" fmla="*/ 120 w 226"/>
                <a:gd name="T13" fmla="*/ 241 h 241"/>
                <a:gd name="T14" fmla="*/ 72 w 226"/>
                <a:gd name="T15" fmla="*/ 232 h 241"/>
                <a:gd name="T16" fmla="*/ 34 w 226"/>
                <a:gd name="T17" fmla="*/ 208 h 241"/>
                <a:gd name="T18" fmla="*/ 9 w 226"/>
                <a:gd name="T19" fmla="*/ 170 h 241"/>
                <a:gd name="T20" fmla="*/ 0 w 226"/>
                <a:gd name="T21" fmla="*/ 121 h 241"/>
                <a:gd name="T22" fmla="*/ 0 w 226"/>
                <a:gd name="T23" fmla="*/ 121 h 241"/>
                <a:gd name="T24" fmla="*/ 8 w 226"/>
                <a:gd name="T25" fmla="*/ 74 h 241"/>
                <a:gd name="T26" fmla="*/ 32 w 226"/>
                <a:gd name="T27" fmla="*/ 36 h 241"/>
                <a:gd name="T28" fmla="*/ 68 w 226"/>
                <a:gd name="T29" fmla="*/ 10 h 241"/>
                <a:gd name="T30" fmla="*/ 114 w 226"/>
                <a:gd name="T31" fmla="*/ 0 h 241"/>
                <a:gd name="T32" fmla="*/ 164 w 226"/>
                <a:gd name="T33" fmla="*/ 11 h 241"/>
                <a:gd name="T34" fmla="*/ 199 w 226"/>
                <a:gd name="T35" fmla="*/ 38 h 241"/>
                <a:gd name="T36" fmla="*/ 220 w 226"/>
                <a:gd name="T37" fmla="*/ 79 h 241"/>
                <a:gd name="T38" fmla="*/ 226 w 226"/>
                <a:gd name="T39" fmla="*/ 126 h 241"/>
                <a:gd name="T40" fmla="*/ 226 w 226"/>
                <a:gd name="T41" fmla="*/ 134 h 241"/>
                <a:gd name="T42" fmla="*/ 226 w 226"/>
                <a:gd name="T43" fmla="*/ 143 h 241"/>
                <a:gd name="T44" fmla="*/ 65 w 226"/>
                <a:gd name="T45" fmla="*/ 143 h 241"/>
                <a:gd name="T46" fmla="*/ 84 w 226"/>
                <a:gd name="T47" fmla="*/ 177 h 241"/>
                <a:gd name="T48" fmla="*/ 121 w 226"/>
                <a:gd name="T49" fmla="*/ 188 h 241"/>
                <a:gd name="T50" fmla="*/ 151 w 226"/>
                <a:gd name="T51" fmla="*/ 183 h 241"/>
                <a:gd name="T52" fmla="*/ 177 w 226"/>
                <a:gd name="T53" fmla="*/ 164 h 241"/>
                <a:gd name="T54" fmla="*/ 215 w 226"/>
                <a:gd name="T55" fmla="*/ 198 h 241"/>
                <a:gd name="T56" fmla="*/ 175 w 226"/>
                <a:gd name="T57" fmla="*/ 229 h 241"/>
                <a:gd name="T58" fmla="*/ 120 w 226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6" h="241">
                  <a:moveTo>
                    <a:pt x="163" y="102"/>
                  </a:moveTo>
                  <a:cubicBezTo>
                    <a:pt x="161" y="87"/>
                    <a:pt x="155" y="76"/>
                    <a:pt x="147" y="66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0" y="53"/>
                    <a:pt x="89" y="57"/>
                    <a:pt x="81" y="66"/>
                  </a:cubicBezTo>
                  <a:cubicBezTo>
                    <a:pt x="72" y="75"/>
                    <a:pt x="67" y="87"/>
                    <a:pt x="64" y="102"/>
                  </a:cubicBezTo>
                  <a:lnTo>
                    <a:pt x="163" y="102"/>
                  </a:lnTo>
                  <a:close/>
                  <a:moveTo>
                    <a:pt x="120" y="241"/>
                  </a:moveTo>
                  <a:cubicBezTo>
                    <a:pt x="103" y="241"/>
                    <a:pt x="87" y="238"/>
                    <a:pt x="72" y="232"/>
                  </a:cubicBezTo>
                  <a:cubicBezTo>
                    <a:pt x="58" y="226"/>
                    <a:pt x="45" y="218"/>
                    <a:pt x="34" y="208"/>
                  </a:cubicBezTo>
                  <a:cubicBezTo>
                    <a:pt x="23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8" y="74"/>
                  </a:cubicBezTo>
                  <a:cubicBezTo>
                    <a:pt x="14" y="59"/>
                    <a:pt x="22" y="47"/>
                    <a:pt x="32" y="36"/>
                  </a:cubicBezTo>
                  <a:cubicBezTo>
                    <a:pt x="42" y="25"/>
                    <a:pt x="54" y="16"/>
                    <a:pt x="68" y="10"/>
                  </a:cubicBezTo>
                  <a:cubicBezTo>
                    <a:pt x="82" y="4"/>
                    <a:pt x="97" y="0"/>
                    <a:pt x="114" y="0"/>
                  </a:cubicBezTo>
                  <a:cubicBezTo>
                    <a:pt x="133" y="0"/>
                    <a:pt x="150" y="4"/>
                    <a:pt x="164" y="11"/>
                  </a:cubicBezTo>
                  <a:cubicBezTo>
                    <a:pt x="178" y="18"/>
                    <a:pt x="190" y="27"/>
                    <a:pt x="199" y="38"/>
                  </a:cubicBezTo>
                  <a:cubicBezTo>
                    <a:pt x="208" y="50"/>
                    <a:pt x="215" y="63"/>
                    <a:pt x="220" y="79"/>
                  </a:cubicBezTo>
                  <a:cubicBezTo>
                    <a:pt x="224" y="94"/>
                    <a:pt x="226" y="109"/>
                    <a:pt x="226" y="126"/>
                  </a:cubicBezTo>
                  <a:cubicBezTo>
                    <a:pt x="226" y="128"/>
                    <a:pt x="226" y="131"/>
                    <a:pt x="226" y="134"/>
                  </a:cubicBezTo>
                  <a:cubicBezTo>
                    <a:pt x="226" y="137"/>
                    <a:pt x="226" y="140"/>
                    <a:pt x="226" y="143"/>
                  </a:cubicBezTo>
                  <a:lnTo>
                    <a:pt x="65" y="143"/>
                  </a:lnTo>
                  <a:cubicBezTo>
                    <a:pt x="68" y="158"/>
                    <a:pt x="75" y="169"/>
                    <a:pt x="84" y="177"/>
                  </a:cubicBezTo>
                  <a:cubicBezTo>
                    <a:pt x="94" y="184"/>
                    <a:pt x="107" y="188"/>
                    <a:pt x="121" y="188"/>
                  </a:cubicBezTo>
                  <a:cubicBezTo>
                    <a:pt x="132" y="188"/>
                    <a:pt x="142" y="186"/>
                    <a:pt x="151" y="183"/>
                  </a:cubicBezTo>
                  <a:cubicBezTo>
                    <a:pt x="159" y="179"/>
                    <a:pt x="168" y="173"/>
                    <a:pt x="177" y="164"/>
                  </a:cubicBezTo>
                  <a:lnTo>
                    <a:pt x="215" y="198"/>
                  </a:lnTo>
                  <a:cubicBezTo>
                    <a:pt x="204" y="211"/>
                    <a:pt x="191" y="222"/>
                    <a:pt x="175" y="229"/>
                  </a:cubicBezTo>
                  <a:cubicBezTo>
                    <a:pt x="160" y="237"/>
                    <a:pt x="141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399EB65C-14EC-8B32-2531-9A4DD274CB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" y="356"/>
              <a:ext cx="33" cy="38"/>
            </a:xfrm>
            <a:custGeom>
              <a:avLst/>
              <a:gdLst>
                <a:gd name="T0" fmla="*/ 134 w 261"/>
                <a:gd name="T1" fmla="*/ 146 h 302"/>
                <a:gd name="T2" fmla="*/ 171 w 261"/>
                <a:gd name="T3" fmla="*/ 135 h 302"/>
                <a:gd name="T4" fmla="*/ 185 w 261"/>
                <a:gd name="T5" fmla="*/ 104 h 302"/>
                <a:gd name="T6" fmla="*/ 185 w 261"/>
                <a:gd name="T7" fmla="*/ 103 h 302"/>
                <a:gd name="T8" fmla="*/ 171 w 261"/>
                <a:gd name="T9" fmla="*/ 71 h 302"/>
                <a:gd name="T10" fmla="*/ 132 w 261"/>
                <a:gd name="T11" fmla="*/ 60 h 302"/>
                <a:gd name="T12" fmla="*/ 67 w 261"/>
                <a:gd name="T13" fmla="*/ 60 h 302"/>
                <a:gd name="T14" fmla="*/ 67 w 261"/>
                <a:gd name="T15" fmla="*/ 146 h 302"/>
                <a:gd name="T16" fmla="*/ 134 w 261"/>
                <a:gd name="T17" fmla="*/ 146 h 302"/>
                <a:gd name="T18" fmla="*/ 0 w 261"/>
                <a:gd name="T19" fmla="*/ 0 h 302"/>
                <a:gd name="T20" fmla="*/ 138 w 261"/>
                <a:gd name="T21" fmla="*/ 0 h 302"/>
                <a:gd name="T22" fmla="*/ 226 w 261"/>
                <a:gd name="T23" fmla="*/ 31 h 302"/>
                <a:gd name="T24" fmla="*/ 252 w 261"/>
                <a:gd name="T25" fmla="*/ 100 h 302"/>
                <a:gd name="T26" fmla="*/ 252 w 261"/>
                <a:gd name="T27" fmla="*/ 100 h 302"/>
                <a:gd name="T28" fmla="*/ 234 w 261"/>
                <a:gd name="T29" fmla="*/ 160 h 302"/>
                <a:gd name="T30" fmla="*/ 187 w 261"/>
                <a:gd name="T31" fmla="*/ 194 h 302"/>
                <a:gd name="T32" fmla="*/ 261 w 261"/>
                <a:gd name="T33" fmla="*/ 302 h 302"/>
                <a:gd name="T34" fmla="*/ 183 w 261"/>
                <a:gd name="T35" fmla="*/ 302 h 302"/>
                <a:gd name="T36" fmla="*/ 119 w 261"/>
                <a:gd name="T37" fmla="*/ 205 h 302"/>
                <a:gd name="T38" fmla="*/ 118 w 261"/>
                <a:gd name="T39" fmla="*/ 205 h 302"/>
                <a:gd name="T40" fmla="*/ 67 w 261"/>
                <a:gd name="T41" fmla="*/ 205 h 302"/>
                <a:gd name="T42" fmla="*/ 67 w 261"/>
                <a:gd name="T43" fmla="*/ 302 h 302"/>
                <a:gd name="T44" fmla="*/ 0 w 261"/>
                <a:gd name="T45" fmla="*/ 302 h 302"/>
                <a:gd name="T46" fmla="*/ 0 w 261"/>
                <a:gd name="T4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1" h="302">
                  <a:moveTo>
                    <a:pt x="134" y="146"/>
                  </a:moveTo>
                  <a:cubicBezTo>
                    <a:pt x="150" y="146"/>
                    <a:pt x="163" y="143"/>
                    <a:pt x="171" y="135"/>
                  </a:cubicBezTo>
                  <a:cubicBezTo>
                    <a:pt x="180" y="127"/>
                    <a:pt x="185" y="117"/>
                    <a:pt x="185" y="104"/>
                  </a:cubicBezTo>
                  <a:lnTo>
                    <a:pt x="185" y="103"/>
                  </a:lnTo>
                  <a:cubicBezTo>
                    <a:pt x="185" y="89"/>
                    <a:pt x="180" y="78"/>
                    <a:pt x="171" y="71"/>
                  </a:cubicBezTo>
                  <a:cubicBezTo>
                    <a:pt x="162" y="63"/>
                    <a:pt x="149" y="60"/>
                    <a:pt x="132" y="60"/>
                  </a:cubicBezTo>
                  <a:lnTo>
                    <a:pt x="67" y="60"/>
                  </a:lnTo>
                  <a:lnTo>
                    <a:pt x="67" y="146"/>
                  </a:lnTo>
                  <a:lnTo>
                    <a:pt x="134" y="146"/>
                  </a:lnTo>
                  <a:close/>
                  <a:moveTo>
                    <a:pt x="0" y="0"/>
                  </a:moveTo>
                  <a:lnTo>
                    <a:pt x="138" y="0"/>
                  </a:lnTo>
                  <a:cubicBezTo>
                    <a:pt x="176" y="0"/>
                    <a:pt x="206" y="10"/>
                    <a:pt x="226" y="31"/>
                  </a:cubicBezTo>
                  <a:cubicBezTo>
                    <a:pt x="243" y="48"/>
                    <a:pt x="252" y="71"/>
                    <a:pt x="252" y="100"/>
                  </a:cubicBezTo>
                  <a:lnTo>
                    <a:pt x="252" y="100"/>
                  </a:lnTo>
                  <a:cubicBezTo>
                    <a:pt x="252" y="125"/>
                    <a:pt x="246" y="145"/>
                    <a:pt x="234" y="160"/>
                  </a:cubicBezTo>
                  <a:cubicBezTo>
                    <a:pt x="222" y="175"/>
                    <a:pt x="206" y="187"/>
                    <a:pt x="187" y="194"/>
                  </a:cubicBezTo>
                  <a:lnTo>
                    <a:pt x="261" y="302"/>
                  </a:lnTo>
                  <a:lnTo>
                    <a:pt x="183" y="302"/>
                  </a:lnTo>
                  <a:lnTo>
                    <a:pt x="119" y="205"/>
                  </a:lnTo>
                  <a:lnTo>
                    <a:pt x="118" y="205"/>
                  </a:lnTo>
                  <a:lnTo>
                    <a:pt x="67" y="205"/>
                  </a:lnTo>
                  <a:lnTo>
                    <a:pt x="67" y="302"/>
                  </a:lnTo>
                  <a:lnTo>
                    <a:pt x="0" y="302"/>
                  </a:lnTo>
                  <a:lnTo>
                    <a:pt x="0" y="0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7FB2ACAE-CC9E-6BB0-A836-1FC38EC93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9" y="364"/>
              <a:ext cx="28" cy="31"/>
            </a:xfrm>
            <a:custGeom>
              <a:avLst/>
              <a:gdLst>
                <a:gd name="T0" fmla="*/ 162 w 226"/>
                <a:gd name="T1" fmla="*/ 102 h 241"/>
                <a:gd name="T2" fmla="*/ 147 w 226"/>
                <a:gd name="T3" fmla="*/ 66 h 241"/>
                <a:gd name="T4" fmla="*/ 114 w 226"/>
                <a:gd name="T5" fmla="*/ 53 h 241"/>
                <a:gd name="T6" fmla="*/ 80 w 226"/>
                <a:gd name="T7" fmla="*/ 66 h 241"/>
                <a:gd name="T8" fmla="*/ 64 w 226"/>
                <a:gd name="T9" fmla="*/ 102 h 241"/>
                <a:gd name="T10" fmla="*/ 162 w 226"/>
                <a:gd name="T11" fmla="*/ 102 h 241"/>
                <a:gd name="T12" fmla="*/ 120 w 226"/>
                <a:gd name="T13" fmla="*/ 241 h 241"/>
                <a:gd name="T14" fmla="*/ 72 w 226"/>
                <a:gd name="T15" fmla="*/ 232 h 241"/>
                <a:gd name="T16" fmla="*/ 34 w 226"/>
                <a:gd name="T17" fmla="*/ 208 h 241"/>
                <a:gd name="T18" fmla="*/ 9 w 226"/>
                <a:gd name="T19" fmla="*/ 170 h 241"/>
                <a:gd name="T20" fmla="*/ 0 w 226"/>
                <a:gd name="T21" fmla="*/ 121 h 241"/>
                <a:gd name="T22" fmla="*/ 0 w 226"/>
                <a:gd name="T23" fmla="*/ 121 h 241"/>
                <a:gd name="T24" fmla="*/ 8 w 226"/>
                <a:gd name="T25" fmla="*/ 74 h 241"/>
                <a:gd name="T26" fmla="*/ 31 w 226"/>
                <a:gd name="T27" fmla="*/ 36 h 241"/>
                <a:gd name="T28" fmla="*/ 67 w 226"/>
                <a:gd name="T29" fmla="*/ 10 h 241"/>
                <a:gd name="T30" fmla="*/ 114 w 226"/>
                <a:gd name="T31" fmla="*/ 0 h 241"/>
                <a:gd name="T32" fmla="*/ 164 w 226"/>
                <a:gd name="T33" fmla="*/ 11 h 241"/>
                <a:gd name="T34" fmla="*/ 199 w 226"/>
                <a:gd name="T35" fmla="*/ 38 h 241"/>
                <a:gd name="T36" fmla="*/ 220 w 226"/>
                <a:gd name="T37" fmla="*/ 79 h 241"/>
                <a:gd name="T38" fmla="*/ 226 w 226"/>
                <a:gd name="T39" fmla="*/ 126 h 241"/>
                <a:gd name="T40" fmla="*/ 226 w 226"/>
                <a:gd name="T41" fmla="*/ 134 h 241"/>
                <a:gd name="T42" fmla="*/ 225 w 226"/>
                <a:gd name="T43" fmla="*/ 143 h 241"/>
                <a:gd name="T44" fmla="*/ 65 w 226"/>
                <a:gd name="T45" fmla="*/ 143 h 241"/>
                <a:gd name="T46" fmla="*/ 84 w 226"/>
                <a:gd name="T47" fmla="*/ 177 h 241"/>
                <a:gd name="T48" fmla="*/ 121 w 226"/>
                <a:gd name="T49" fmla="*/ 188 h 241"/>
                <a:gd name="T50" fmla="*/ 150 w 226"/>
                <a:gd name="T51" fmla="*/ 183 h 241"/>
                <a:gd name="T52" fmla="*/ 177 w 226"/>
                <a:gd name="T53" fmla="*/ 164 h 241"/>
                <a:gd name="T54" fmla="*/ 215 w 226"/>
                <a:gd name="T55" fmla="*/ 198 h 241"/>
                <a:gd name="T56" fmla="*/ 175 w 226"/>
                <a:gd name="T57" fmla="*/ 229 h 241"/>
                <a:gd name="T58" fmla="*/ 120 w 226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6" h="241">
                  <a:moveTo>
                    <a:pt x="162" y="102"/>
                  </a:moveTo>
                  <a:cubicBezTo>
                    <a:pt x="160" y="87"/>
                    <a:pt x="155" y="76"/>
                    <a:pt x="147" y="66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0" y="53"/>
                    <a:pt x="89" y="57"/>
                    <a:pt x="80" y="66"/>
                  </a:cubicBezTo>
                  <a:cubicBezTo>
                    <a:pt x="72" y="75"/>
                    <a:pt x="66" y="87"/>
                    <a:pt x="64" y="102"/>
                  </a:cubicBezTo>
                  <a:lnTo>
                    <a:pt x="162" y="102"/>
                  </a:lnTo>
                  <a:close/>
                  <a:moveTo>
                    <a:pt x="120" y="241"/>
                  </a:moveTo>
                  <a:cubicBezTo>
                    <a:pt x="103" y="241"/>
                    <a:pt x="87" y="238"/>
                    <a:pt x="72" y="232"/>
                  </a:cubicBezTo>
                  <a:cubicBezTo>
                    <a:pt x="57" y="226"/>
                    <a:pt x="45" y="218"/>
                    <a:pt x="34" y="208"/>
                  </a:cubicBezTo>
                  <a:cubicBezTo>
                    <a:pt x="23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2" y="89"/>
                    <a:pt x="8" y="74"/>
                  </a:cubicBezTo>
                  <a:cubicBezTo>
                    <a:pt x="14" y="59"/>
                    <a:pt x="21" y="47"/>
                    <a:pt x="31" y="36"/>
                  </a:cubicBezTo>
                  <a:cubicBezTo>
                    <a:pt x="42" y="25"/>
                    <a:pt x="54" y="16"/>
                    <a:pt x="67" y="10"/>
                  </a:cubicBezTo>
                  <a:cubicBezTo>
                    <a:pt x="81" y="4"/>
                    <a:pt x="97" y="0"/>
                    <a:pt x="114" y="0"/>
                  </a:cubicBezTo>
                  <a:cubicBezTo>
                    <a:pt x="133" y="0"/>
                    <a:pt x="150" y="4"/>
                    <a:pt x="164" y="11"/>
                  </a:cubicBezTo>
                  <a:cubicBezTo>
                    <a:pt x="178" y="18"/>
                    <a:pt x="190" y="27"/>
                    <a:pt x="199" y="38"/>
                  </a:cubicBezTo>
                  <a:cubicBezTo>
                    <a:pt x="208" y="50"/>
                    <a:pt x="215" y="63"/>
                    <a:pt x="220" y="79"/>
                  </a:cubicBezTo>
                  <a:cubicBezTo>
                    <a:pt x="224" y="94"/>
                    <a:pt x="226" y="109"/>
                    <a:pt x="226" y="126"/>
                  </a:cubicBezTo>
                  <a:cubicBezTo>
                    <a:pt x="226" y="128"/>
                    <a:pt x="226" y="131"/>
                    <a:pt x="226" y="134"/>
                  </a:cubicBezTo>
                  <a:cubicBezTo>
                    <a:pt x="226" y="137"/>
                    <a:pt x="226" y="140"/>
                    <a:pt x="225" y="143"/>
                  </a:cubicBezTo>
                  <a:lnTo>
                    <a:pt x="65" y="143"/>
                  </a:lnTo>
                  <a:cubicBezTo>
                    <a:pt x="68" y="158"/>
                    <a:pt x="74" y="169"/>
                    <a:pt x="84" y="177"/>
                  </a:cubicBezTo>
                  <a:cubicBezTo>
                    <a:pt x="94" y="184"/>
                    <a:pt x="106" y="188"/>
                    <a:pt x="121" y="188"/>
                  </a:cubicBezTo>
                  <a:cubicBezTo>
                    <a:pt x="132" y="188"/>
                    <a:pt x="142" y="186"/>
                    <a:pt x="150" y="183"/>
                  </a:cubicBezTo>
                  <a:cubicBezTo>
                    <a:pt x="159" y="179"/>
                    <a:pt x="168" y="173"/>
                    <a:pt x="177" y="164"/>
                  </a:cubicBezTo>
                  <a:lnTo>
                    <a:pt x="215" y="198"/>
                  </a:lnTo>
                  <a:cubicBezTo>
                    <a:pt x="204" y="211"/>
                    <a:pt x="190" y="222"/>
                    <a:pt x="175" y="229"/>
                  </a:cubicBezTo>
                  <a:cubicBezTo>
                    <a:pt x="159" y="237"/>
                    <a:pt x="141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38EA3AA8-D89B-DA92-A02E-9F9588B42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1" y="364"/>
              <a:ext cx="27" cy="31"/>
            </a:xfrm>
            <a:custGeom>
              <a:avLst/>
              <a:gdLst>
                <a:gd name="T0" fmla="*/ 120 w 214"/>
                <a:gd name="T1" fmla="*/ 241 h 241"/>
                <a:gd name="T2" fmla="*/ 72 w 214"/>
                <a:gd name="T3" fmla="*/ 231 h 241"/>
                <a:gd name="T4" fmla="*/ 34 w 214"/>
                <a:gd name="T5" fmla="*/ 206 h 241"/>
                <a:gd name="T6" fmla="*/ 9 w 214"/>
                <a:gd name="T7" fmla="*/ 168 h 241"/>
                <a:gd name="T8" fmla="*/ 0 w 214"/>
                <a:gd name="T9" fmla="*/ 121 h 241"/>
                <a:gd name="T10" fmla="*/ 0 w 214"/>
                <a:gd name="T11" fmla="*/ 121 h 241"/>
                <a:gd name="T12" fmla="*/ 9 w 214"/>
                <a:gd name="T13" fmla="*/ 74 h 241"/>
                <a:gd name="T14" fmla="*/ 34 w 214"/>
                <a:gd name="T15" fmla="*/ 36 h 241"/>
                <a:gd name="T16" fmla="*/ 72 w 214"/>
                <a:gd name="T17" fmla="*/ 10 h 241"/>
                <a:gd name="T18" fmla="*/ 121 w 214"/>
                <a:gd name="T19" fmla="*/ 0 h 241"/>
                <a:gd name="T20" fmla="*/ 175 w 214"/>
                <a:gd name="T21" fmla="*/ 11 h 241"/>
                <a:gd name="T22" fmla="*/ 213 w 214"/>
                <a:gd name="T23" fmla="*/ 39 h 241"/>
                <a:gd name="T24" fmla="*/ 173 w 214"/>
                <a:gd name="T25" fmla="*/ 82 h 241"/>
                <a:gd name="T26" fmla="*/ 150 w 214"/>
                <a:gd name="T27" fmla="*/ 64 h 241"/>
                <a:gd name="T28" fmla="*/ 120 w 214"/>
                <a:gd name="T29" fmla="*/ 57 h 241"/>
                <a:gd name="T30" fmla="*/ 98 w 214"/>
                <a:gd name="T31" fmla="*/ 62 h 241"/>
                <a:gd name="T32" fmla="*/ 80 w 214"/>
                <a:gd name="T33" fmla="*/ 75 h 241"/>
                <a:gd name="T34" fmla="*/ 68 w 214"/>
                <a:gd name="T35" fmla="*/ 95 h 241"/>
                <a:gd name="T36" fmla="*/ 64 w 214"/>
                <a:gd name="T37" fmla="*/ 120 h 241"/>
                <a:gd name="T38" fmla="*/ 64 w 214"/>
                <a:gd name="T39" fmla="*/ 121 h 241"/>
                <a:gd name="T40" fmla="*/ 68 w 214"/>
                <a:gd name="T41" fmla="*/ 146 h 241"/>
                <a:gd name="T42" fmla="*/ 80 w 214"/>
                <a:gd name="T43" fmla="*/ 166 h 241"/>
                <a:gd name="T44" fmla="*/ 99 w 214"/>
                <a:gd name="T45" fmla="*/ 179 h 241"/>
                <a:gd name="T46" fmla="*/ 123 w 214"/>
                <a:gd name="T47" fmla="*/ 184 h 241"/>
                <a:gd name="T48" fmla="*/ 152 w 214"/>
                <a:gd name="T49" fmla="*/ 178 h 241"/>
                <a:gd name="T50" fmla="*/ 176 w 214"/>
                <a:gd name="T51" fmla="*/ 160 h 241"/>
                <a:gd name="T52" fmla="*/ 214 w 214"/>
                <a:gd name="T53" fmla="*/ 199 h 241"/>
                <a:gd name="T54" fmla="*/ 176 w 214"/>
                <a:gd name="T55" fmla="*/ 229 h 241"/>
                <a:gd name="T56" fmla="*/ 120 w 214"/>
                <a:gd name="T5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4" h="241">
                  <a:moveTo>
                    <a:pt x="120" y="241"/>
                  </a:moveTo>
                  <a:cubicBezTo>
                    <a:pt x="103" y="241"/>
                    <a:pt x="87" y="238"/>
                    <a:pt x="72" y="231"/>
                  </a:cubicBezTo>
                  <a:cubicBezTo>
                    <a:pt x="57" y="225"/>
                    <a:pt x="44" y="216"/>
                    <a:pt x="34" y="206"/>
                  </a:cubicBezTo>
                  <a:cubicBezTo>
                    <a:pt x="23" y="195"/>
                    <a:pt x="15" y="182"/>
                    <a:pt x="9" y="168"/>
                  </a:cubicBezTo>
                  <a:cubicBezTo>
                    <a:pt x="3" y="153"/>
                    <a:pt x="0" y="138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9" y="74"/>
                  </a:cubicBezTo>
                  <a:cubicBezTo>
                    <a:pt x="15" y="59"/>
                    <a:pt x="23" y="47"/>
                    <a:pt x="34" y="36"/>
                  </a:cubicBezTo>
                  <a:cubicBezTo>
                    <a:pt x="44" y="25"/>
                    <a:pt x="57" y="16"/>
                    <a:pt x="72" y="10"/>
                  </a:cubicBezTo>
                  <a:cubicBezTo>
                    <a:pt x="87" y="4"/>
                    <a:pt x="103" y="0"/>
                    <a:pt x="121" y="0"/>
                  </a:cubicBezTo>
                  <a:cubicBezTo>
                    <a:pt x="143" y="0"/>
                    <a:pt x="161" y="4"/>
                    <a:pt x="175" y="11"/>
                  </a:cubicBezTo>
                  <a:cubicBezTo>
                    <a:pt x="189" y="18"/>
                    <a:pt x="202" y="27"/>
                    <a:pt x="213" y="39"/>
                  </a:cubicBezTo>
                  <a:lnTo>
                    <a:pt x="173" y="82"/>
                  </a:lnTo>
                  <a:cubicBezTo>
                    <a:pt x="165" y="74"/>
                    <a:pt x="158" y="68"/>
                    <a:pt x="150" y="64"/>
                  </a:cubicBezTo>
                  <a:cubicBezTo>
                    <a:pt x="142" y="59"/>
                    <a:pt x="132" y="57"/>
                    <a:pt x="120" y="57"/>
                  </a:cubicBezTo>
                  <a:cubicBezTo>
                    <a:pt x="112" y="57"/>
                    <a:pt x="104" y="58"/>
                    <a:pt x="98" y="62"/>
                  </a:cubicBezTo>
                  <a:cubicBezTo>
                    <a:pt x="91" y="65"/>
                    <a:pt x="85" y="70"/>
                    <a:pt x="80" y="75"/>
                  </a:cubicBezTo>
                  <a:cubicBezTo>
                    <a:pt x="75" y="81"/>
                    <a:pt x="71" y="88"/>
                    <a:pt x="68" y="95"/>
                  </a:cubicBezTo>
                  <a:cubicBezTo>
                    <a:pt x="66" y="103"/>
                    <a:pt x="64" y="111"/>
                    <a:pt x="64" y="120"/>
                  </a:cubicBezTo>
                  <a:lnTo>
                    <a:pt x="64" y="121"/>
                  </a:lnTo>
                  <a:cubicBezTo>
                    <a:pt x="64" y="129"/>
                    <a:pt x="66" y="138"/>
                    <a:pt x="68" y="146"/>
                  </a:cubicBezTo>
                  <a:cubicBezTo>
                    <a:pt x="71" y="153"/>
                    <a:pt x="75" y="160"/>
                    <a:pt x="80" y="166"/>
                  </a:cubicBezTo>
                  <a:cubicBezTo>
                    <a:pt x="85" y="172"/>
                    <a:pt x="92" y="176"/>
                    <a:pt x="99" y="179"/>
                  </a:cubicBezTo>
                  <a:cubicBezTo>
                    <a:pt x="106" y="183"/>
                    <a:pt x="114" y="184"/>
                    <a:pt x="123" y="184"/>
                  </a:cubicBezTo>
                  <a:cubicBezTo>
                    <a:pt x="134" y="184"/>
                    <a:pt x="143" y="182"/>
                    <a:pt x="152" y="178"/>
                  </a:cubicBezTo>
                  <a:cubicBezTo>
                    <a:pt x="160" y="173"/>
                    <a:pt x="168" y="167"/>
                    <a:pt x="176" y="160"/>
                  </a:cubicBezTo>
                  <a:lnTo>
                    <a:pt x="214" y="199"/>
                  </a:lnTo>
                  <a:cubicBezTo>
                    <a:pt x="203" y="211"/>
                    <a:pt x="190" y="221"/>
                    <a:pt x="176" y="229"/>
                  </a:cubicBezTo>
                  <a:cubicBezTo>
                    <a:pt x="162" y="237"/>
                    <a:pt x="143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40A5151D-63D9-F4FD-E414-9DB9ADCE3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3" y="365"/>
              <a:ext cx="26" cy="30"/>
            </a:xfrm>
            <a:custGeom>
              <a:avLst/>
              <a:gdLst>
                <a:gd name="T0" fmla="*/ 79 w 212"/>
                <a:gd name="T1" fmla="*/ 235 h 235"/>
                <a:gd name="T2" fmla="*/ 21 w 212"/>
                <a:gd name="T3" fmla="*/ 212 h 235"/>
                <a:gd name="T4" fmla="*/ 0 w 212"/>
                <a:gd name="T5" fmla="*/ 149 h 235"/>
                <a:gd name="T6" fmla="*/ 0 w 212"/>
                <a:gd name="T7" fmla="*/ 0 h 235"/>
                <a:gd name="T8" fmla="*/ 66 w 212"/>
                <a:gd name="T9" fmla="*/ 0 h 235"/>
                <a:gd name="T10" fmla="*/ 66 w 212"/>
                <a:gd name="T11" fmla="*/ 128 h 235"/>
                <a:gd name="T12" fmla="*/ 76 w 212"/>
                <a:gd name="T13" fmla="*/ 163 h 235"/>
                <a:gd name="T14" fmla="*/ 105 w 212"/>
                <a:gd name="T15" fmla="*/ 175 h 235"/>
                <a:gd name="T16" fmla="*/ 135 w 212"/>
                <a:gd name="T17" fmla="*/ 163 h 235"/>
                <a:gd name="T18" fmla="*/ 146 w 212"/>
                <a:gd name="T19" fmla="*/ 128 h 235"/>
                <a:gd name="T20" fmla="*/ 146 w 212"/>
                <a:gd name="T21" fmla="*/ 0 h 235"/>
                <a:gd name="T22" fmla="*/ 212 w 212"/>
                <a:gd name="T23" fmla="*/ 0 h 235"/>
                <a:gd name="T24" fmla="*/ 212 w 212"/>
                <a:gd name="T25" fmla="*/ 231 h 235"/>
                <a:gd name="T26" fmla="*/ 146 w 212"/>
                <a:gd name="T27" fmla="*/ 231 h 235"/>
                <a:gd name="T28" fmla="*/ 146 w 212"/>
                <a:gd name="T29" fmla="*/ 198 h 235"/>
                <a:gd name="T30" fmla="*/ 134 w 212"/>
                <a:gd name="T31" fmla="*/ 212 h 235"/>
                <a:gd name="T32" fmla="*/ 119 w 212"/>
                <a:gd name="T33" fmla="*/ 224 h 235"/>
                <a:gd name="T34" fmla="*/ 101 w 212"/>
                <a:gd name="T35" fmla="*/ 232 h 235"/>
                <a:gd name="T36" fmla="*/ 79 w 212"/>
                <a:gd name="T37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2" h="235">
                  <a:moveTo>
                    <a:pt x="79" y="235"/>
                  </a:moveTo>
                  <a:cubicBezTo>
                    <a:pt x="54" y="235"/>
                    <a:pt x="34" y="227"/>
                    <a:pt x="21" y="212"/>
                  </a:cubicBezTo>
                  <a:cubicBezTo>
                    <a:pt x="7" y="197"/>
                    <a:pt x="0" y="176"/>
                    <a:pt x="0" y="149"/>
                  </a:cubicBezTo>
                  <a:lnTo>
                    <a:pt x="0" y="0"/>
                  </a:lnTo>
                  <a:lnTo>
                    <a:pt x="66" y="0"/>
                  </a:lnTo>
                  <a:lnTo>
                    <a:pt x="66" y="128"/>
                  </a:lnTo>
                  <a:cubicBezTo>
                    <a:pt x="66" y="144"/>
                    <a:pt x="69" y="155"/>
                    <a:pt x="76" y="163"/>
                  </a:cubicBezTo>
                  <a:cubicBezTo>
                    <a:pt x="83" y="171"/>
                    <a:pt x="93" y="175"/>
                    <a:pt x="105" y="175"/>
                  </a:cubicBezTo>
                  <a:cubicBezTo>
                    <a:pt x="118" y="175"/>
                    <a:pt x="128" y="171"/>
                    <a:pt x="135" y="163"/>
                  </a:cubicBezTo>
                  <a:cubicBezTo>
                    <a:pt x="143" y="155"/>
                    <a:pt x="146" y="144"/>
                    <a:pt x="146" y="128"/>
                  </a:cubicBezTo>
                  <a:lnTo>
                    <a:pt x="146" y="0"/>
                  </a:lnTo>
                  <a:lnTo>
                    <a:pt x="212" y="0"/>
                  </a:lnTo>
                  <a:lnTo>
                    <a:pt x="212" y="231"/>
                  </a:lnTo>
                  <a:lnTo>
                    <a:pt x="146" y="231"/>
                  </a:lnTo>
                  <a:lnTo>
                    <a:pt x="146" y="198"/>
                  </a:lnTo>
                  <a:cubicBezTo>
                    <a:pt x="142" y="202"/>
                    <a:pt x="138" y="207"/>
                    <a:pt x="134" y="212"/>
                  </a:cubicBezTo>
                  <a:cubicBezTo>
                    <a:pt x="129" y="216"/>
                    <a:pt x="125" y="220"/>
                    <a:pt x="119" y="224"/>
                  </a:cubicBezTo>
                  <a:cubicBezTo>
                    <a:pt x="114" y="227"/>
                    <a:pt x="108" y="230"/>
                    <a:pt x="101" y="232"/>
                  </a:cubicBezTo>
                  <a:cubicBezTo>
                    <a:pt x="94" y="234"/>
                    <a:pt x="87" y="235"/>
                    <a:pt x="79" y="235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9CEEB8AF-427B-DB9A-69F5-25C93EB118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6" y="364"/>
              <a:ext cx="30" cy="39"/>
            </a:xfrm>
            <a:custGeom>
              <a:avLst/>
              <a:gdLst>
                <a:gd name="T0" fmla="*/ 121 w 243"/>
                <a:gd name="T1" fmla="*/ 184 h 305"/>
                <a:gd name="T2" fmla="*/ 143 w 243"/>
                <a:gd name="T3" fmla="*/ 180 h 305"/>
                <a:gd name="T4" fmla="*/ 161 w 243"/>
                <a:gd name="T5" fmla="*/ 167 h 305"/>
                <a:gd name="T6" fmla="*/ 173 w 243"/>
                <a:gd name="T7" fmla="*/ 147 h 305"/>
                <a:gd name="T8" fmla="*/ 177 w 243"/>
                <a:gd name="T9" fmla="*/ 121 h 305"/>
                <a:gd name="T10" fmla="*/ 177 w 243"/>
                <a:gd name="T11" fmla="*/ 120 h 305"/>
                <a:gd name="T12" fmla="*/ 173 w 243"/>
                <a:gd name="T13" fmla="*/ 94 h 305"/>
                <a:gd name="T14" fmla="*/ 161 w 243"/>
                <a:gd name="T15" fmla="*/ 73 h 305"/>
                <a:gd name="T16" fmla="*/ 143 w 243"/>
                <a:gd name="T17" fmla="*/ 60 h 305"/>
                <a:gd name="T18" fmla="*/ 121 w 243"/>
                <a:gd name="T19" fmla="*/ 56 h 305"/>
                <a:gd name="T20" fmla="*/ 99 w 243"/>
                <a:gd name="T21" fmla="*/ 60 h 305"/>
                <a:gd name="T22" fmla="*/ 81 w 243"/>
                <a:gd name="T23" fmla="*/ 73 h 305"/>
                <a:gd name="T24" fmla="*/ 69 w 243"/>
                <a:gd name="T25" fmla="*/ 94 h 305"/>
                <a:gd name="T26" fmla="*/ 65 w 243"/>
                <a:gd name="T27" fmla="*/ 120 h 305"/>
                <a:gd name="T28" fmla="*/ 65 w 243"/>
                <a:gd name="T29" fmla="*/ 121 h 305"/>
                <a:gd name="T30" fmla="*/ 69 w 243"/>
                <a:gd name="T31" fmla="*/ 147 h 305"/>
                <a:gd name="T32" fmla="*/ 81 w 243"/>
                <a:gd name="T33" fmla="*/ 167 h 305"/>
                <a:gd name="T34" fmla="*/ 99 w 243"/>
                <a:gd name="T35" fmla="*/ 180 h 305"/>
                <a:gd name="T36" fmla="*/ 121 w 243"/>
                <a:gd name="T37" fmla="*/ 184 h 305"/>
                <a:gd name="T38" fmla="*/ 0 w 243"/>
                <a:gd name="T39" fmla="*/ 5 h 305"/>
                <a:gd name="T40" fmla="*/ 66 w 243"/>
                <a:gd name="T41" fmla="*/ 5 h 305"/>
                <a:gd name="T42" fmla="*/ 66 w 243"/>
                <a:gd name="T43" fmla="*/ 38 h 305"/>
                <a:gd name="T44" fmla="*/ 95 w 243"/>
                <a:gd name="T45" fmla="*/ 11 h 305"/>
                <a:gd name="T46" fmla="*/ 138 w 243"/>
                <a:gd name="T47" fmla="*/ 0 h 305"/>
                <a:gd name="T48" fmla="*/ 177 w 243"/>
                <a:gd name="T49" fmla="*/ 8 h 305"/>
                <a:gd name="T50" fmla="*/ 210 w 243"/>
                <a:gd name="T51" fmla="*/ 31 h 305"/>
                <a:gd name="T52" fmla="*/ 234 w 243"/>
                <a:gd name="T53" fmla="*/ 69 h 305"/>
                <a:gd name="T54" fmla="*/ 243 w 243"/>
                <a:gd name="T55" fmla="*/ 120 h 305"/>
                <a:gd name="T56" fmla="*/ 243 w 243"/>
                <a:gd name="T57" fmla="*/ 121 h 305"/>
                <a:gd name="T58" fmla="*/ 234 w 243"/>
                <a:gd name="T59" fmla="*/ 172 h 305"/>
                <a:gd name="T60" fmla="*/ 211 w 243"/>
                <a:gd name="T61" fmla="*/ 209 h 305"/>
                <a:gd name="T62" fmla="*/ 177 w 243"/>
                <a:gd name="T63" fmla="*/ 232 h 305"/>
                <a:gd name="T64" fmla="*/ 138 w 243"/>
                <a:gd name="T65" fmla="*/ 240 h 305"/>
                <a:gd name="T66" fmla="*/ 94 w 243"/>
                <a:gd name="T67" fmla="*/ 230 h 305"/>
                <a:gd name="T68" fmla="*/ 66 w 243"/>
                <a:gd name="T69" fmla="*/ 205 h 305"/>
                <a:gd name="T70" fmla="*/ 66 w 243"/>
                <a:gd name="T71" fmla="*/ 305 h 305"/>
                <a:gd name="T72" fmla="*/ 0 w 243"/>
                <a:gd name="T73" fmla="*/ 305 h 305"/>
                <a:gd name="T74" fmla="*/ 0 w 243"/>
                <a:gd name="T75" fmla="*/ 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3" h="305">
                  <a:moveTo>
                    <a:pt x="121" y="184"/>
                  </a:moveTo>
                  <a:cubicBezTo>
                    <a:pt x="129" y="184"/>
                    <a:pt x="136" y="183"/>
                    <a:pt x="143" y="180"/>
                  </a:cubicBezTo>
                  <a:cubicBezTo>
                    <a:pt x="149" y="177"/>
                    <a:pt x="155" y="172"/>
                    <a:pt x="161" y="167"/>
                  </a:cubicBezTo>
                  <a:cubicBezTo>
                    <a:pt x="166" y="161"/>
                    <a:pt x="170" y="155"/>
                    <a:pt x="173" y="147"/>
                  </a:cubicBezTo>
                  <a:cubicBezTo>
                    <a:pt x="176" y="139"/>
                    <a:pt x="177" y="130"/>
                    <a:pt x="177" y="121"/>
                  </a:cubicBezTo>
                  <a:lnTo>
                    <a:pt x="177" y="120"/>
                  </a:lnTo>
                  <a:cubicBezTo>
                    <a:pt x="177" y="110"/>
                    <a:pt x="176" y="102"/>
                    <a:pt x="173" y="94"/>
                  </a:cubicBezTo>
                  <a:cubicBezTo>
                    <a:pt x="170" y="86"/>
                    <a:pt x="166" y="79"/>
                    <a:pt x="161" y="73"/>
                  </a:cubicBezTo>
                  <a:cubicBezTo>
                    <a:pt x="155" y="68"/>
                    <a:pt x="149" y="63"/>
                    <a:pt x="143" y="60"/>
                  </a:cubicBezTo>
                  <a:cubicBezTo>
                    <a:pt x="136" y="57"/>
                    <a:pt x="129" y="56"/>
                    <a:pt x="121" y="56"/>
                  </a:cubicBezTo>
                  <a:cubicBezTo>
                    <a:pt x="113" y="56"/>
                    <a:pt x="106" y="57"/>
                    <a:pt x="99" y="60"/>
                  </a:cubicBezTo>
                  <a:cubicBezTo>
                    <a:pt x="92" y="63"/>
                    <a:pt x="86" y="68"/>
                    <a:pt x="81" y="73"/>
                  </a:cubicBezTo>
                  <a:cubicBezTo>
                    <a:pt x="76" y="79"/>
                    <a:pt x="72" y="86"/>
                    <a:pt x="69" y="94"/>
                  </a:cubicBezTo>
                  <a:cubicBezTo>
                    <a:pt x="66" y="102"/>
                    <a:pt x="65" y="110"/>
                    <a:pt x="65" y="120"/>
                  </a:cubicBezTo>
                  <a:lnTo>
                    <a:pt x="65" y="121"/>
                  </a:lnTo>
                  <a:cubicBezTo>
                    <a:pt x="65" y="130"/>
                    <a:pt x="66" y="139"/>
                    <a:pt x="69" y="147"/>
                  </a:cubicBezTo>
                  <a:cubicBezTo>
                    <a:pt x="72" y="155"/>
                    <a:pt x="76" y="161"/>
                    <a:pt x="81" y="167"/>
                  </a:cubicBezTo>
                  <a:cubicBezTo>
                    <a:pt x="86" y="172"/>
                    <a:pt x="92" y="177"/>
                    <a:pt x="99" y="180"/>
                  </a:cubicBezTo>
                  <a:cubicBezTo>
                    <a:pt x="106" y="183"/>
                    <a:pt x="113" y="184"/>
                    <a:pt x="121" y="184"/>
                  </a:cubicBezTo>
                  <a:close/>
                  <a:moveTo>
                    <a:pt x="0" y="5"/>
                  </a:moveTo>
                  <a:lnTo>
                    <a:pt x="66" y="5"/>
                  </a:lnTo>
                  <a:lnTo>
                    <a:pt x="66" y="38"/>
                  </a:lnTo>
                  <a:cubicBezTo>
                    <a:pt x="74" y="27"/>
                    <a:pt x="83" y="18"/>
                    <a:pt x="95" y="11"/>
                  </a:cubicBezTo>
                  <a:cubicBezTo>
                    <a:pt x="106" y="4"/>
                    <a:pt x="120" y="0"/>
                    <a:pt x="138" y="0"/>
                  </a:cubicBezTo>
                  <a:cubicBezTo>
                    <a:pt x="151" y="0"/>
                    <a:pt x="164" y="3"/>
                    <a:pt x="177" y="8"/>
                  </a:cubicBezTo>
                  <a:cubicBezTo>
                    <a:pt x="190" y="13"/>
                    <a:pt x="201" y="21"/>
                    <a:pt x="210" y="31"/>
                  </a:cubicBezTo>
                  <a:cubicBezTo>
                    <a:pt x="220" y="41"/>
                    <a:pt x="228" y="54"/>
                    <a:pt x="234" y="69"/>
                  </a:cubicBezTo>
                  <a:cubicBezTo>
                    <a:pt x="240" y="83"/>
                    <a:pt x="243" y="100"/>
                    <a:pt x="243" y="120"/>
                  </a:cubicBezTo>
                  <a:lnTo>
                    <a:pt x="243" y="121"/>
                  </a:lnTo>
                  <a:cubicBezTo>
                    <a:pt x="243" y="140"/>
                    <a:pt x="240" y="157"/>
                    <a:pt x="234" y="172"/>
                  </a:cubicBezTo>
                  <a:cubicBezTo>
                    <a:pt x="228" y="186"/>
                    <a:pt x="220" y="199"/>
                    <a:pt x="211" y="209"/>
                  </a:cubicBezTo>
                  <a:cubicBezTo>
                    <a:pt x="201" y="219"/>
                    <a:pt x="190" y="227"/>
                    <a:pt x="177" y="232"/>
                  </a:cubicBezTo>
                  <a:cubicBezTo>
                    <a:pt x="165" y="237"/>
                    <a:pt x="151" y="240"/>
                    <a:pt x="138" y="240"/>
                  </a:cubicBezTo>
                  <a:cubicBezTo>
                    <a:pt x="120" y="240"/>
                    <a:pt x="106" y="236"/>
                    <a:pt x="94" y="230"/>
                  </a:cubicBezTo>
                  <a:cubicBezTo>
                    <a:pt x="83" y="223"/>
                    <a:pt x="74" y="215"/>
                    <a:pt x="66" y="205"/>
                  </a:cubicBezTo>
                  <a:lnTo>
                    <a:pt x="66" y="305"/>
                  </a:lnTo>
                  <a:lnTo>
                    <a:pt x="0" y="305"/>
                  </a:lnTo>
                  <a:lnTo>
                    <a:pt x="0" y="5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CC826A49-B69B-A7D8-904F-3B06F55637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1" y="364"/>
              <a:ext cx="28" cy="31"/>
            </a:xfrm>
            <a:custGeom>
              <a:avLst/>
              <a:gdLst>
                <a:gd name="T0" fmla="*/ 163 w 226"/>
                <a:gd name="T1" fmla="*/ 102 h 241"/>
                <a:gd name="T2" fmla="*/ 147 w 226"/>
                <a:gd name="T3" fmla="*/ 66 h 241"/>
                <a:gd name="T4" fmla="*/ 114 w 226"/>
                <a:gd name="T5" fmla="*/ 53 h 241"/>
                <a:gd name="T6" fmla="*/ 81 w 226"/>
                <a:gd name="T7" fmla="*/ 66 h 241"/>
                <a:gd name="T8" fmla="*/ 64 w 226"/>
                <a:gd name="T9" fmla="*/ 102 h 241"/>
                <a:gd name="T10" fmla="*/ 163 w 226"/>
                <a:gd name="T11" fmla="*/ 102 h 241"/>
                <a:gd name="T12" fmla="*/ 120 w 226"/>
                <a:gd name="T13" fmla="*/ 241 h 241"/>
                <a:gd name="T14" fmla="*/ 72 w 226"/>
                <a:gd name="T15" fmla="*/ 232 h 241"/>
                <a:gd name="T16" fmla="*/ 34 w 226"/>
                <a:gd name="T17" fmla="*/ 208 h 241"/>
                <a:gd name="T18" fmla="*/ 9 w 226"/>
                <a:gd name="T19" fmla="*/ 170 h 241"/>
                <a:gd name="T20" fmla="*/ 0 w 226"/>
                <a:gd name="T21" fmla="*/ 121 h 241"/>
                <a:gd name="T22" fmla="*/ 0 w 226"/>
                <a:gd name="T23" fmla="*/ 121 h 241"/>
                <a:gd name="T24" fmla="*/ 8 w 226"/>
                <a:gd name="T25" fmla="*/ 74 h 241"/>
                <a:gd name="T26" fmla="*/ 32 w 226"/>
                <a:gd name="T27" fmla="*/ 36 h 241"/>
                <a:gd name="T28" fmla="*/ 68 w 226"/>
                <a:gd name="T29" fmla="*/ 10 h 241"/>
                <a:gd name="T30" fmla="*/ 114 w 226"/>
                <a:gd name="T31" fmla="*/ 0 h 241"/>
                <a:gd name="T32" fmla="*/ 164 w 226"/>
                <a:gd name="T33" fmla="*/ 11 h 241"/>
                <a:gd name="T34" fmla="*/ 199 w 226"/>
                <a:gd name="T35" fmla="*/ 38 h 241"/>
                <a:gd name="T36" fmla="*/ 220 w 226"/>
                <a:gd name="T37" fmla="*/ 79 h 241"/>
                <a:gd name="T38" fmla="*/ 226 w 226"/>
                <a:gd name="T39" fmla="*/ 126 h 241"/>
                <a:gd name="T40" fmla="*/ 226 w 226"/>
                <a:gd name="T41" fmla="*/ 134 h 241"/>
                <a:gd name="T42" fmla="*/ 226 w 226"/>
                <a:gd name="T43" fmla="*/ 143 h 241"/>
                <a:gd name="T44" fmla="*/ 65 w 226"/>
                <a:gd name="T45" fmla="*/ 143 h 241"/>
                <a:gd name="T46" fmla="*/ 85 w 226"/>
                <a:gd name="T47" fmla="*/ 177 h 241"/>
                <a:gd name="T48" fmla="*/ 121 w 226"/>
                <a:gd name="T49" fmla="*/ 188 h 241"/>
                <a:gd name="T50" fmla="*/ 151 w 226"/>
                <a:gd name="T51" fmla="*/ 183 h 241"/>
                <a:gd name="T52" fmla="*/ 177 w 226"/>
                <a:gd name="T53" fmla="*/ 164 h 241"/>
                <a:gd name="T54" fmla="*/ 215 w 226"/>
                <a:gd name="T55" fmla="*/ 198 h 241"/>
                <a:gd name="T56" fmla="*/ 175 w 226"/>
                <a:gd name="T57" fmla="*/ 229 h 241"/>
                <a:gd name="T58" fmla="*/ 120 w 226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6" h="241">
                  <a:moveTo>
                    <a:pt x="163" y="102"/>
                  </a:moveTo>
                  <a:cubicBezTo>
                    <a:pt x="161" y="87"/>
                    <a:pt x="156" y="76"/>
                    <a:pt x="147" y="66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0" y="53"/>
                    <a:pt x="89" y="57"/>
                    <a:pt x="81" y="66"/>
                  </a:cubicBezTo>
                  <a:cubicBezTo>
                    <a:pt x="72" y="75"/>
                    <a:pt x="67" y="87"/>
                    <a:pt x="64" y="102"/>
                  </a:cubicBezTo>
                  <a:lnTo>
                    <a:pt x="163" y="102"/>
                  </a:lnTo>
                  <a:close/>
                  <a:moveTo>
                    <a:pt x="120" y="241"/>
                  </a:moveTo>
                  <a:cubicBezTo>
                    <a:pt x="103" y="241"/>
                    <a:pt x="87" y="238"/>
                    <a:pt x="72" y="232"/>
                  </a:cubicBezTo>
                  <a:cubicBezTo>
                    <a:pt x="58" y="226"/>
                    <a:pt x="45" y="218"/>
                    <a:pt x="34" y="208"/>
                  </a:cubicBezTo>
                  <a:cubicBezTo>
                    <a:pt x="23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8" y="74"/>
                  </a:cubicBezTo>
                  <a:cubicBezTo>
                    <a:pt x="14" y="59"/>
                    <a:pt x="22" y="47"/>
                    <a:pt x="32" y="36"/>
                  </a:cubicBezTo>
                  <a:cubicBezTo>
                    <a:pt x="42" y="25"/>
                    <a:pt x="54" y="16"/>
                    <a:pt x="68" y="10"/>
                  </a:cubicBezTo>
                  <a:cubicBezTo>
                    <a:pt x="82" y="4"/>
                    <a:pt x="97" y="0"/>
                    <a:pt x="114" y="0"/>
                  </a:cubicBezTo>
                  <a:cubicBezTo>
                    <a:pt x="133" y="0"/>
                    <a:pt x="150" y="4"/>
                    <a:pt x="164" y="11"/>
                  </a:cubicBezTo>
                  <a:cubicBezTo>
                    <a:pt x="178" y="18"/>
                    <a:pt x="190" y="27"/>
                    <a:pt x="199" y="38"/>
                  </a:cubicBezTo>
                  <a:cubicBezTo>
                    <a:pt x="208" y="50"/>
                    <a:pt x="215" y="63"/>
                    <a:pt x="220" y="79"/>
                  </a:cubicBezTo>
                  <a:cubicBezTo>
                    <a:pt x="224" y="94"/>
                    <a:pt x="226" y="109"/>
                    <a:pt x="226" y="126"/>
                  </a:cubicBezTo>
                  <a:cubicBezTo>
                    <a:pt x="226" y="128"/>
                    <a:pt x="226" y="131"/>
                    <a:pt x="226" y="134"/>
                  </a:cubicBezTo>
                  <a:cubicBezTo>
                    <a:pt x="226" y="137"/>
                    <a:pt x="226" y="140"/>
                    <a:pt x="226" y="143"/>
                  </a:cubicBezTo>
                  <a:lnTo>
                    <a:pt x="65" y="143"/>
                  </a:lnTo>
                  <a:cubicBezTo>
                    <a:pt x="68" y="158"/>
                    <a:pt x="75" y="169"/>
                    <a:pt x="85" y="177"/>
                  </a:cubicBezTo>
                  <a:cubicBezTo>
                    <a:pt x="94" y="184"/>
                    <a:pt x="107" y="188"/>
                    <a:pt x="121" y="188"/>
                  </a:cubicBezTo>
                  <a:cubicBezTo>
                    <a:pt x="132" y="188"/>
                    <a:pt x="142" y="186"/>
                    <a:pt x="151" y="183"/>
                  </a:cubicBezTo>
                  <a:cubicBezTo>
                    <a:pt x="159" y="179"/>
                    <a:pt x="168" y="173"/>
                    <a:pt x="177" y="164"/>
                  </a:cubicBezTo>
                  <a:lnTo>
                    <a:pt x="215" y="198"/>
                  </a:lnTo>
                  <a:cubicBezTo>
                    <a:pt x="204" y="211"/>
                    <a:pt x="191" y="222"/>
                    <a:pt x="175" y="229"/>
                  </a:cubicBezTo>
                  <a:cubicBezTo>
                    <a:pt x="160" y="237"/>
                    <a:pt x="141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EE2672A5-571E-E7ED-43A5-230248128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" y="364"/>
              <a:ext cx="17" cy="30"/>
            </a:xfrm>
            <a:custGeom>
              <a:avLst/>
              <a:gdLst>
                <a:gd name="T0" fmla="*/ 0 w 139"/>
                <a:gd name="T1" fmla="*/ 6 h 237"/>
                <a:gd name="T2" fmla="*/ 66 w 139"/>
                <a:gd name="T3" fmla="*/ 6 h 237"/>
                <a:gd name="T4" fmla="*/ 66 w 139"/>
                <a:gd name="T5" fmla="*/ 52 h 237"/>
                <a:gd name="T6" fmla="*/ 93 w 139"/>
                <a:gd name="T7" fmla="*/ 14 h 237"/>
                <a:gd name="T8" fmla="*/ 139 w 139"/>
                <a:gd name="T9" fmla="*/ 1 h 237"/>
                <a:gd name="T10" fmla="*/ 139 w 139"/>
                <a:gd name="T11" fmla="*/ 70 h 237"/>
                <a:gd name="T12" fmla="*/ 136 w 139"/>
                <a:gd name="T13" fmla="*/ 70 h 237"/>
                <a:gd name="T14" fmla="*/ 84 w 139"/>
                <a:gd name="T15" fmla="*/ 90 h 237"/>
                <a:gd name="T16" fmla="*/ 66 w 139"/>
                <a:gd name="T17" fmla="*/ 151 h 237"/>
                <a:gd name="T18" fmla="*/ 66 w 139"/>
                <a:gd name="T19" fmla="*/ 237 h 237"/>
                <a:gd name="T20" fmla="*/ 0 w 139"/>
                <a:gd name="T21" fmla="*/ 237 h 237"/>
                <a:gd name="T22" fmla="*/ 0 w 139"/>
                <a:gd name="T23" fmla="*/ 6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237">
                  <a:moveTo>
                    <a:pt x="0" y="6"/>
                  </a:moveTo>
                  <a:lnTo>
                    <a:pt x="66" y="6"/>
                  </a:lnTo>
                  <a:lnTo>
                    <a:pt x="66" y="52"/>
                  </a:lnTo>
                  <a:cubicBezTo>
                    <a:pt x="72" y="36"/>
                    <a:pt x="81" y="24"/>
                    <a:pt x="93" y="14"/>
                  </a:cubicBezTo>
                  <a:cubicBezTo>
                    <a:pt x="104" y="5"/>
                    <a:pt x="120" y="0"/>
                    <a:pt x="139" y="1"/>
                  </a:cubicBezTo>
                  <a:lnTo>
                    <a:pt x="139" y="70"/>
                  </a:lnTo>
                  <a:lnTo>
                    <a:pt x="136" y="70"/>
                  </a:lnTo>
                  <a:cubicBezTo>
                    <a:pt x="114" y="70"/>
                    <a:pt x="97" y="76"/>
                    <a:pt x="84" y="90"/>
                  </a:cubicBezTo>
                  <a:cubicBezTo>
                    <a:pt x="72" y="103"/>
                    <a:pt x="66" y="123"/>
                    <a:pt x="66" y="151"/>
                  </a:cubicBezTo>
                  <a:lnTo>
                    <a:pt x="66" y="237"/>
                  </a:lnTo>
                  <a:lnTo>
                    <a:pt x="0" y="237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B1DC8E04-1E40-5EFA-16FB-A3FBC6F15C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6" y="364"/>
              <a:ext cx="26" cy="31"/>
            </a:xfrm>
            <a:custGeom>
              <a:avLst/>
              <a:gdLst>
                <a:gd name="T0" fmla="*/ 100 w 213"/>
                <a:gd name="T1" fmla="*/ 193 h 238"/>
                <a:gd name="T2" fmla="*/ 137 w 213"/>
                <a:gd name="T3" fmla="*/ 181 h 238"/>
                <a:gd name="T4" fmla="*/ 151 w 213"/>
                <a:gd name="T5" fmla="*/ 152 h 238"/>
                <a:gd name="T6" fmla="*/ 151 w 213"/>
                <a:gd name="T7" fmla="*/ 141 h 238"/>
                <a:gd name="T8" fmla="*/ 132 w 213"/>
                <a:gd name="T9" fmla="*/ 134 h 238"/>
                <a:gd name="T10" fmla="*/ 109 w 213"/>
                <a:gd name="T11" fmla="*/ 132 h 238"/>
                <a:gd name="T12" fmla="*/ 76 w 213"/>
                <a:gd name="T13" fmla="*/ 140 h 238"/>
                <a:gd name="T14" fmla="*/ 64 w 213"/>
                <a:gd name="T15" fmla="*/ 164 h 238"/>
                <a:gd name="T16" fmla="*/ 64 w 213"/>
                <a:gd name="T17" fmla="*/ 165 h 238"/>
                <a:gd name="T18" fmla="*/ 74 w 213"/>
                <a:gd name="T19" fmla="*/ 185 h 238"/>
                <a:gd name="T20" fmla="*/ 100 w 213"/>
                <a:gd name="T21" fmla="*/ 193 h 238"/>
                <a:gd name="T22" fmla="*/ 80 w 213"/>
                <a:gd name="T23" fmla="*/ 238 h 238"/>
                <a:gd name="T24" fmla="*/ 49 w 213"/>
                <a:gd name="T25" fmla="*/ 233 h 238"/>
                <a:gd name="T26" fmla="*/ 24 w 213"/>
                <a:gd name="T27" fmla="*/ 220 h 238"/>
                <a:gd name="T28" fmla="*/ 7 w 213"/>
                <a:gd name="T29" fmla="*/ 198 h 238"/>
                <a:gd name="T30" fmla="*/ 0 w 213"/>
                <a:gd name="T31" fmla="*/ 167 h 238"/>
                <a:gd name="T32" fmla="*/ 0 w 213"/>
                <a:gd name="T33" fmla="*/ 166 h 238"/>
                <a:gd name="T34" fmla="*/ 7 w 213"/>
                <a:gd name="T35" fmla="*/ 134 h 238"/>
                <a:gd name="T36" fmla="*/ 26 w 213"/>
                <a:gd name="T37" fmla="*/ 111 h 238"/>
                <a:gd name="T38" fmla="*/ 56 w 213"/>
                <a:gd name="T39" fmla="*/ 97 h 238"/>
                <a:gd name="T40" fmla="*/ 93 w 213"/>
                <a:gd name="T41" fmla="*/ 93 h 238"/>
                <a:gd name="T42" fmla="*/ 124 w 213"/>
                <a:gd name="T43" fmla="*/ 95 h 238"/>
                <a:gd name="T44" fmla="*/ 150 w 213"/>
                <a:gd name="T45" fmla="*/ 102 h 238"/>
                <a:gd name="T46" fmla="*/ 150 w 213"/>
                <a:gd name="T47" fmla="*/ 98 h 238"/>
                <a:gd name="T48" fmla="*/ 137 w 213"/>
                <a:gd name="T49" fmla="*/ 67 h 238"/>
                <a:gd name="T50" fmla="*/ 100 w 213"/>
                <a:gd name="T51" fmla="*/ 56 h 238"/>
                <a:gd name="T52" fmla="*/ 67 w 213"/>
                <a:gd name="T53" fmla="*/ 59 h 238"/>
                <a:gd name="T54" fmla="*/ 37 w 213"/>
                <a:gd name="T55" fmla="*/ 69 h 238"/>
                <a:gd name="T56" fmla="*/ 20 w 213"/>
                <a:gd name="T57" fmla="*/ 19 h 238"/>
                <a:gd name="T58" fmla="*/ 60 w 213"/>
                <a:gd name="T59" fmla="*/ 5 h 238"/>
                <a:gd name="T60" fmla="*/ 110 w 213"/>
                <a:gd name="T61" fmla="*/ 0 h 238"/>
                <a:gd name="T62" fmla="*/ 156 w 213"/>
                <a:gd name="T63" fmla="*/ 7 h 238"/>
                <a:gd name="T64" fmla="*/ 188 w 213"/>
                <a:gd name="T65" fmla="*/ 26 h 238"/>
                <a:gd name="T66" fmla="*/ 207 w 213"/>
                <a:gd name="T67" fmla="*/ 58 h 238"/>
                <a:gd name="T68" fmla="*/ 213 w 213"/>
                <a:gd name="T69" fmla="*/ 100 h 238"/>
                <a:gd name="T70" fmla="*/ 213 w 213"/>
                <a:gd name="T71" fmla="*/ 234 h 238"/>
                <a:gd name="T72" fmla="*/ 149 w 213"/>
                <a:gd name="T73" fmla="*/ 234 h 238"/>
                <a:gd name="T74" fmla="*/ 149 w 213"/>
                <a:gd name="T75" fmla="*/ 209 h 238"/>
                <a:gd name="T76" fmla="*/ 121 w 213"/>
                <a:gd name="T77" fmla="*/ 230 h 238"/>
                <a:gd name="T78" fmla="*/ 80 w 213"/>
                <a:gd name="T7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3" h="238">
                  <a:moveTo>
                    <a:pt x="100" y="193"/>
                  </a:moveTo>
                  <a:cubicBezTo>
                    <a:pt x="115" y="193"/>
                    <a:pt x="127" y="189"/>
                    <a:pt x="137" y="181"/>
                  </a:cubicBezTo>
                  <a:cubicBezTo>
                    <a:pt x="146" y="174"/>
                    <a:pt x="151" y="164"/>
                    <a:pt x="151" y="152"/>
                  </a:cubicBezTo>
                  <a:lnTo>
                    <a:pt x="151" y="141"/>
                  </a:lnTo>
                  <a:cubicBezTo>
                    <a:pt x="145" y="138"/>
                    <a:pt x="139" y="136"/>
                    <a:pt x="132" y="134"/>
                  </a:cubicBezTo>
                  <a:cubicBezTo>
                    <a:pt x="125" y="133"/>
                    <a:pt x="117" y="132"/>
                    <a:pt x="109" y="132"/>
                  </a:cubicBezTo>
                  <a:cubicBezTo>
                    <a:pt x="95" y="132"/>
                    <a:pt x="84" y="135"/>
                    <a:pt x="76" y="140"/>
                  </a:cubicBezTo>
                  <a:cubicBezTo>
                    <a:pt x="68" y="146"/>
                    <a:pt x="64" y="153"/>
                    <a:pt x="64" y="164"/>
                  </a:cubicBezTo>
                  <a:lnTo>
                    <a:pt x="64" y="165"/>
                  </a:lnTo>
                  <a:cubicBezTo>
                    <a:pt x="64" y="174"/>
                    <a:pt x="67" y="180"/>
                    <a:pt x="74" y="185"/>
                  </a:cubicBezTo>
                  <a:cubicBezTo>
                    <a:pt x="80" y="190"/>
                    <a:pt x="89" y="193"/>
                    <a:pt x="100" y="193"/>
                  </a:cubicBezTo>
                  <a:close/>
                  <a:moveTo>
                    <a:pt x="80" y="238"/>
                  </a:moveTo>
                  <a:cubicBezTo>
                    <a:pt x="69" y="238"/>
                    <a:pt x="59" y="236"/>
                    <a:pt x="49" y="233"/>
                  </a:cubicBezTo>
                  <a:cubicBezTo>
                    <a:pt x="39" y="230"/>
                    <a:pt x="31" y="226"/>
                    <a:pt x="24" y="220"/>
                  </a:cubicBezTo>
                  <a:cubicBezTo>
                    <a:pt x="17" y="214"/>
                    <a:pt x="11" y="206"/>
                    <a:pt x="7" y="198"/>
                  </a:cubicBezTo>
                  <a:cubicBezTo>
                    <a:pt x="3" y="189"/>
                    <a:pt x="0" y="179"/>
                    <a:pt x="0" y="167"/>
                  </a:cubicBezTo>
                  <a:lnTo>
                    <a:pt x="0" y="166"/>
                  </a:lnTo>
                  <a:cubicBezTo>
                    <a:pt x="0" y="154"/>
                    <a:pt x="3" y="143"/>
                    <a:pt x="7" y="134"/>
                  </a:cubicBezTo>
                  <a:cubicBezTo>
                    <a:pt x="12" y="124"/>
                    <a:pt x="18" y="117"/>
                    <a:pt x="26" y="111"/>
                  </a:cubicBezTo>
                  <a:cubicBezTo>
                    <a:pt x="35" y="105"/>
                    <a:pt x="44" y="100"/>
                    <a:pt x="56" y="97"/>
                  </a:cubicBezTo>
                  <a:cubicBezTo>
                    <a:pt x="67" y="94"/>
                    <a:pt x="80" y="93"/>
                    <a:pt x="93" y="93"/>
                  </a:cubicBezTo>
                  <a:cubicBezTo>
                    <a:pt x="105" y="93"/>
                    <a:pt x="116" y="94"/>
                    <a:pt x="124" y="95"/>
                  </a:cubicBezTo>
                  <a:cubicBezTo>
                    <a:pt x="133" y="97"/>
                    <a:pt x="142" y="99"/>
                    <a:pt x="150" y="102"/>
                  </a:cubicBezTo>
                  <a:lnTo>
                    <a:pt x="150" y="98"/>
                  </a:lnTo>
                  <a:cubicBezTo>
                    <a:pt x="150" y="85"/>
                    <a:pt x="146" y="74"/>
                    <a:pt x="137" y="67"/>
                  </a:cubicBezTo>
                  <a:cubicBezTo>
                    <a:pt x="129" y="60"/>
                    <a:pt x="117" y="56"/>
                    <a:pt x="100" y="56"/>
                  </a:cubicBezTo>
                  <a:cubicBezTo>
                    <a:pt x="88" y="56"/>
                    <a:pt x="77" y="57"/>
                    <a:pt x="67" y="59"/>
                  </a:cubicBezTo>
                  <a:cubicBezTo>
                    <a:pt x="57" y="61"/>
                    <a:pt x="47" y="65"/>
                    <a:pt x="37" y="69"/>
                  </a:cubicBezTo>
                  <a:lnTo>
                    <a:pt x="20" y="19"/>
                  </a:lnTo>
                  <a:cubicBezTo>
                    <a:pt x="33" y="13"/>
                    <a:pt x="46" y="9"/>
                    <a:pt x="60" y="5"/>
                  </a:cubicBezTo>
                  <a:cubicBezTo>
                    <a:pt x="74" y="2"/>
                    <a:pt x="90" y="0"/>
                    <a:pt x="110" y="0"/>
                  </a:cubicBezTo>
                  <a:cubicBezTo>
                    <a:pt x="128" y="0"/>
                    <a:pt x="143" y="2"/>
                    <a:pt x="156" y="7"/>
                  </a:cubicBezTo>
                  <a:cubicBezTo>
                    <a:pt x="169" y="11"/>
                    <a:pt x="179" y="18"/>
                    <a:pt x="188" y="26"/>
                  </a:cubicBezTo>
                  <a:cubicBezTo>
                    <a:pt x="196" y="35"/>
                    <a:pt x="203" y="45"/>
                    <a:pt x="207" y="58"/>
                  </a:cubicBezTo>
                  <a:cubicBezTo>
                    <a:pt x="211" y="70"/>
                    <a:pt x="213" y="84"/>
                    <a:pt x="213" y="100"/>
                  </a:cubicBezTo>
                  <a:lnTo>
                    <a:pt x="213" y="234"/>
                  </a:lnTo>
                  <a:lnTo>
                    <a:pt x="149" y="234"/>
                  </a:lnTo>
                  <a:lnTo>
                    <a:pt x="149" y="209"/>
                  </a:lnTo>
                  <a:cubicBezTo>
                    <a:pt x="141" y="217"/>
                    <a:pt x="132" y="225"/>
                    <a:pt x="121" y="230"/>
                  </a:cubicBezTo>
                  <a:cubicBezTo>
                    <a:pt x="109" y="235"/>
                    <a:pt x="96" y="238"/>
                    <a:pt x="80" y="2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4A2D5EDA-A8A0-C0A4-3B4E-9FF3A8BB4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8" y="364"/>
              <a:ext cx="26" cy="31"/>
            </a:xfrm>
            <a:custGeom>
              <a:avLst/>
              <a:gdLst>
                <a:gd name="T0" fmla="*/ 120 w 215"/>
                <a:gd name="T1" fmla="*/ 241 h 241"/>
                <a:gd name="T2" fmla="*/ 72 w 215"/>
                <a:gd name="T3" fmla="*/ 231 h 241"/>
                <a:gd name="T4" fmla="*/ 34 w 215"/>
                <a:gd name="T5" fmla="*/ 206 h 241"/>
                <a:gd name="T6" fmla="*/ 9 w 215"/>
                <a:gd name="T7" fmla="*/ 168 h 241"/>
                <a:gd name="T8" fmla="*/ 0 w 215"/>
                <a:gd name="T9" fmla="*/ 121 h 241"/>
                <a:gd name="T10" fmla="*/ 0 w 215"/>
                <a:gd name="T11" fmla="*/ 121 h 241"/>
                <a:gd name="T12" fmla="*/ 9 w 215"/>
                <a:gd name="T13" fmla="*/ 74 h 241"/>
                <a:gd name="T14" fmla="*/ 34 w 215"/>
                <a:gd name="T15" fmla="*/ 36 h 241"/>
                <a:gd name="T16" fmla="*/ 72 w 215"/>
                <a:gd name="T17" fmla="*/ 10 h 241"/>
                <a:gd name="T18" fmla="*/ 121 w 215"/>
                <a:gd name="T19" fmla="*/ 0 h 241"/>
                <a:gd name="T20" fmla="*/ 175 w 215"/>
                <a:gd name="T21" fmla="*/ 11 h 241"/>
                <a:gd name="T22" fmla="*/ 213 w 215"/>
                <a:gd name="T23" fmla="*/ 39 h 241"/>
                <a:gd name="T24" fmla="*/ 173 w 215"/>
                <a:gd name="T25" fmla="*/ 82 h 241"/>
                <a:gd name="T26" fmla="*/ 150 w 215"/>
                <a:gd name="T27" fmla="*/ 64 h 241"/>
                <a:gd name="T28" fmla="*/ 121 w 215"/>
                <a:gd name="T29" fmla="*/ 57 h 241"/>
                <a:gd name="T30" fmla="*/ 98 w 215"/>
                <a:gd name="T31" fmla="*/ 62 h 241"/>
                <a:gd name="T32" fmla="*/ 80 w 215"/>
                <a:gd name="T33" fmla="*/ 75 h 241"/>
                <a:gd name="T34" fmla="*/ 69 w 215"/>
                <a:gd name="T35" fmla="*/ 95 h 241"/>
                <a:gd name="T36" fmla="*/ 65 w 215"/>
                <a:gd name="T37" fmla="*/ 120 h 241"/>
                <a:gd name="T38" fmla="*/ 65 w 215"/>
                <a:gd name="T39" fmla="*/ 121 h 241"/>
                <a:gd name="T40" fmla="*/ 69 w 215"/>
                <a:gd name="T41" fmla="*/ 146 h 241"/>
                <a:gd name="T42" fmla="*/ 81 w 215"/>
                <a:gd name="T43" fmla="*/ 166 h 241"/>
                <a:gd name="T44" fmla="*/ 99 w 215"/>
                <a:gd name="T45" fmla="*/ 179 h 241"/>
                <a:gd name="T46" fmla="*/ 123 w 215"/>
                <a:gd name="T47" fmla="*/ 184 h 241"/>
                <a:gd name="T48" fmla="*/ 152 w 215"/>
                <a:gd name="T49" fmla="*/ 178 h 241"/>
                <a:gd name="T50" fmla="*/ 176 w 215"/>
                <a:gd name="T51" fmla="*/ 160 h 241"/>
                <a:gd name="T52" fmla="*/ 215 w 215"/>
                <a:gd name="T53" fmla="*/ 199 h 241"/>
                <a:gd name="T54" fmla="*/ 176 w 215"/>
                <a:gd name="T55" fmla="*/ 229 h 241"/>
                <a:gd name="T56" fmla="*/ 120 w 215"/>
                <a:gd name="T5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5" h="241">
                  <a:moveTo>
                    <a:pt x="120" y="241"/>
                  </a:moveTo>
                  <a:cubicBezTo>
                    <a:pt x="103" y="241"/>
                    <a:pt x="87" y="238"/>
                    <a:pt x="72" y="231"/>
                  </a:cubicBezTo>
                  <a:cubicBezTo>
                    <a:pt x="57" y="225"/>
                    <a:pt x="45" y="216"/>
                    <a:pt x="34" y="206"/>
                  </a:cubicBezTo>
                  <a:cubicBezTo>
                    <a:pt x="23" y="195"/>
                    <a:pt x="15" y="182"/>
                    <a:pt x="9" y="168"/>
                  </a:cubicBezTo>
                  <a:cubicBezTo>
                    <a:pt x="3" y="153"/>
                    <a:pt x="0" y="138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9" y="74"/>
                  </a:cubicBezTo>
                  <a:cubicBezTo>
                    <a:pt x="15" y="59"/>
                    <a:pt x="23" y="47"/>
                    <a:pt x="34" y="36"/>
                  </a:cubicBezTo>
                  <a:cubicBezTo>
                    <a:pt x="45" y="25"/>
                    <a:pt x="57" y="16"/>
                    <a:pt x="72" y="10"/>
                  </a:cubicBezTo>
                  <a:cubicBezTo>
                    <a:pt x="87" y="4"/>
                    <a:pt x="103" y="0"/>
                    <a:pt x="121" y="0"/>
                  </a:cubicBezTo>
                  <a:cubicBezTo>
                    <a:pt x="143" y="0"/>
                    <a:pt x="161" y="4"/>
                    <a:pt x="175" y="11"/>
                  </a:cubicBezTo>
                  <a:cubicBezTo>
                    <a:pt x="190" y="18"/>
                    <a:pt x="202" y="27"/>
                    <a:pt x="213" y="39"/>
                  </a:cubicBezTo>
                  <a:lnTo>
                    <a:pt x="173" y="82"/>
                  </a:lnTo>
                  <a:cubicBezTo>
                    <a:pt x="166" y="74"/>
                    <a:pt x="158" y="68"/>
                    <a:pt x="150" y="64"/>
                  </a:cubicBezTo>
                  <a:cubicBezTo>
                    <a:pt x="142" y="59"/>
                    <a:pt x="132" y="57"/>
                    <a:pt x="121" y="57"/>
                  </a:cubicBezTo>
                  <a:cubicBezTo>
                    <a:pt x="112" y="57"/>
                    <a:pt x="105" y="58"/>
                    <a:pt x="98" y="62"/>
                  </a:cubicBezTo>
                  <a:cubicBezTo>
                    <a:pt x="91" y="65"/>
                    <a:pt x="85" y="70"/>
                    <a:pt x="80" y="75"/>
                  </a:cubicBezTo>
                  <a:cubicBezTo>
                    <a:pt x="75" y="81"/>
                    <a:pt x="71" y="88"/>
                    <a:pt x="69" y="95"/>
                  </a:cubicBezTo>
                  <a:cubicBezTo>
                    <a:pt x="66" y="103"/>
                    <a:pt x="65" y="111"/>
                    <a:pt x="65" y="120"/>
                  </a:cubicBezTo>
                  <a:lnTo>
                    <a:pt x="65" y="121"/>
                  </a:lnTo>
                  <a:cubicBezTo>
                    <a:pt x="65" y="129"/>
                    <a:pt x="66" y="138"/>
                    <a:pt x="69" y="146"/>
                  </a:cubicBezTo>
                  <a:cubicBezTo>
                    <a:pt x="71" y="153"/>
                    <a:pt x="75" y="160"/>
                    <a:pt x="81" y="166"/>
                  </a:cubicBezTo>
                  <a:cubicBezTo>
                    <a:pt x="86" y="172"/>
                    <a:pt x="92" y="176"/>
                    <a:pt x="99" y="179"/>
                  </a:cubicBezTo>
                  <a:cubicBezTo>
                    <a:pt x="106" y="183"/>
                    <a:pt x="114" y="184"/>
                    <a:pt x="123" y="184"/>
                  </a:cubicBezTo>
                  <a:cubicBezTo>
                    <a:pt x="134" y="184"/>
                    <a:pt x="144" y="182"/>
                    <a:pt x="152" y="178"/>
                  </a:cubicBezTo>
                  <a:cubicBezTo>
                    <a:pt x="160" y="173"/>
                    <a:pt x="168" y="167"/>
                    <a:pt x="176" y="160"/>
                  </a:cubicBezTo>
                  <a:lnTo>
                    <a:pt x="215" y="199"/>
                  </a:lnTo>
                  <a:cubicBezTo>
                    <a:pt x="203" y="211"/>
                    <a:pt x="191" y="221"/>
                    <a:pt x="176" y="229"/>
                  </a:cubicBezTo>
                  <a:cubicBezTo>
                    <a:pt x="162" y="237"/>
                    <a:pt x="143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EA030489-6ECA-FE7D-5ED7-81DF1949EB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0" y="354"/>
              <a:ext cx="8" cy="40"/>
            </a:xfrm>
            <a:custGeom>
              <a:avLst/>
              <a:gdLst>
                <a:gd name="T0" fmla="*/ 1 w 68"/>
                <a:gd name="T1" fmla="*/ 84 h 315"/>
                <a:gd name="T2" fmla="*/ 67 w 68"/>
                <a:gd name="T3" fmla="*/ 84 h 315"/>
                <a:gd name="T4" fmla="*/ 67 w 68"/>
                <a:gd name="T5" fmla="*/ 315 h 315"/>
                <a:gd name="T6" fmla="*/ 1 w 68"/>
                <a:gd name="T7" fmla="*/ 315 h 315"/>
                <a:gd name="T8" fmla="*/ 1 w 68"/>
                <a:gd name="T9" fmla="*/ 84 h 315"/>
                <a:gd name="T10" fmla="*/ 0 w 68"/>
                <a:gd name="T11" fmla="*/ 0 h 315"/>
                <a:gd name="T12" fmla="*/ 68 w 68"/>
                <a:gd name="T13" fmla="*/ 0 h 315"/>
                <a:gd name="T14" fmla="*/ 68 w 68"/>
                <a:gd name="T15" fmla="*/ 58 h 315"/>
                <a:gd name="T16" fmla="*/ 0 w 68"/>
                <a:gd name="T17" fmla="*/ 58 h 315"/>
                <a:gd name="T18" fmla="*/ 0 w 68"/>
                <a:gd name="T1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315">
                  <a:moveTo>
                    <a:pt x="1" y="84"/>
                  </a:moveTo>
                  <a:lnTo>
                    <a:pt x="67" y="84"/>
                  </a:lnTo>
                  <a:lnTo>
                    <a:pt x="67" y="315"/>
                  </a:lnTo>
                  <a:lnTo>
                    <a:pt x="1" y="315"/>
                  </a:lnTo>
                  <a:lnTo>
                    <a:pt x="1" y="84"/>
                  </a:lnTo>
                  <a:close/>
                  <a:moveTo>
                    <a:pt x="0" y="0"/>
                  </a:moveTo>
                  <a:lnTo>
                    <a:pt x="68" y="0"/>
                  </a:lnTo>
                  <a:lnTo>
                    <a:pt x="68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2990344A-FDFD-9955-6C6D-4ABA2CD6CE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4" y="352"/>
              <a:ext cx="31" cy="43"/>
            </a:xfrm>
            <a:custGeom>
              <a:avLst/>
              <a:gdLst>
                <a:gd name="T0" fmla="*/ 149 w 250"/>
                <a:gd name="T1" fmla="*/ 0 h 338"/>
                <a:gd name="T2" fmla="*/ 205 w 250"/>
                <a:gd name="T3" fmla="*/ 25 h 338"/>
                <a:gd name="T4" fmla="*/ 150 w 250"/>
                <a:gd name="T5" fmla="*/ 76 h 338"/>
                <a:gd name="T6" fmla="*/ 100 w 250"/>
                <a:gd name="T7" fmla="*/ 76 h 338"/>
                <a:gd name="T8" fmla="*/ 149 w 250"/>
                <a:gd name="T9" fmla="*/ 0 h 338"/>
                <a:gd name="T10" fmla="*/ 126 w 250"/>
                <a:gd name="T11" fmla="*/ 281 h 338"/>
                <a:gd name="T12" fmla="*/ 151 w 250"/>
                <a:gd name="T13" fmla="*/ 276 h 338"/>
                <a:gd name="T14" fmla="*/ 169 w 250"/>
                <a:gd name="T15" fmla="*/ 263 h 338"/>
                <a:gd name="T16" fmla="*/ 181 w 250"/>
                <a:gd name="T17" fmla="*/ 243 h 338"/>
                <a:gd name="T18" fmla="*/ 185 w 250"/>
                <a:gd name="T19" fmla="*/ 218 h 338"/>
                <a:gd name="T20" fmla="*/ 185 w 250"/>
                <a:gd name="T21" fmla="*/ 218 h 338"/>
                <a:gd name="T22" fmla="*/ 181 w 250"/>
                <a:gd name="T23" fmla="*/ 193 h 338"/>
                <a:gd name="T24" fmla="*/ 169 w 250"/>
                <a:gd name="T25" fmla="*/ 173 h 338"/>
                <a:gd name="T26" fmla="*/ 149 w 250"/>
                <a:gd name="T27" fmla="*/ 159 h 338"/>
                <a:gd name="T28" fmla="*/ 125 w 250"/>
                <a:gd name="T29" fmla="*/ 154 h 338"/>
                <a:gd name="T30" fmla="*/ 99 w 250"/>
                <a:gd name="T31" fmla="*/ 159 h 338"/>
                <a:gd name="T32" fmla="*/ 81 w 250"/>
                <a:gd name="T33" fmla="*/ 172 h 338"/>
                <a:gd name="T34" fmla="*/ 69 w 250"/>
                <a:gd name="T35" fmla="*/ 192 h 338"/>
                <a:gd name="T36" fmla="*/ 65 w 250"/>
                <a:gd name="T37" fmla="*/ 217 h 338"/>
                <a:gd name="T38" fmla="*/ 65 w 250"/>
                <a:gd name="T39" fmla="*/ 218 h 338"/>
                <a:gd name="T40" fmla="*/ 69 w 250"/>
                <a:gd name="T41" fmla="*/ 242 h 338"/>
                <a:gd name="T42" fmla="*/ 82 w 250"/>
                <a:gd name="T43" fmla="*/ 262 h 338"/>
                <a:gd name="T44" fmla="*/ 101 w 250"/>
                <a:gd name="T45" fmla="*/ 276 h 338"/>
                <a:gd name="T46" fmla="*/ 126 w 250"/>
                <a:gd name="T47" fmla="*/ 281 h 338"/>
                <a:gd name="T48" fmla="*/ 125 w 250"/>
                <a:gd name="T49" fmla="*/ 338 h 338"/>
                <a:gd name="T50" fmla="*/ 75 w 250"/>
                <a:gd name="T51" fmla="*/ 328 h 338"/>
                <a:gd name="T52" fmla="*/ 36 w 250"/>
                <a:gd name="T53" fmla="*/ 303 h 338"/>
                <a:gd name="T54" fmla="*/ 10 w 250"/>
                <a:gd name="T55" fmla="*/ 265 h 338"/>
                <a:gd name="T56" fmla="*/ 0 w 250"/>
                <a:gd name="T57" fmla="*/ 218 h 338"/>
                <a:gd name="T58" fmla="*/ 0 w 250"/>
                <a:gd name="T59" fmla="*/ 218 h 338"/>
                <a:gd name="T60" fmla="*/ 10 w 250"/>
                <a:gd name="T61" fmla="*/ 171 h 338"/>
                <a:gd name="T62" fmla="*/ 36 w 250"/>
                <a:gd name="T63" fmla="*/ 133 h 338"/>
                <a:gd name="T64" fmla="*/ 76 w 250"/>
                <a:gd name="T65" fmla="*/ 107 h 338"/>
                <a:gd name="T66" fmla="*/ 126 w 250"/>
                <a:gd name="T67" fmla="*/ 97 h 338"/>
                <a:gd name="T68" fmla="*/ 175 w 250"/>
                <a:gd name="T69" fmla="*/ 107 h 338"/>
                <a:gd name="T70" fmla="*/ 214 w 250"/>
                <a:gd name="T71" fmla="*/ 132 h 338"/>
                <a:gd name="T72" fmla="*/ 241 w 250"/>
                <a:gd name="T73" fmla="*/ 170 h 338"/>
                <a:gd name="T74" fmla="*/ 250 w 250"/>
                <a:gd name="T75" fmla="*/ 217 h 338"/>
                <a:gd name="T76" fmla="*/ 250 w 250"/>
                <a:gd name="T77" fmla="*/ 218 h 338"/>
                <a:gd name="T78" fmla="*/ 241 w 250"/>
                <a:gd name="T79" fmla="*/ 264 h 338"/>
                <a:gd name="T80" fmla="*/ 214 w 250"/>
                <a:gd name="T81" fmla="*/ 302 h 338"/>
                <a:gd name="T82" fmla="*/ 175 w 250"/>
                <a:gd name="T83" fmla="*/ 328 h 338"/>
                <a:gd name="T84" fmla="*/ 125 w 250"/>
                <a:gd name="T85" fmla="*/ 33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0" h="338">
                  <a:moveTo>
                    <a:pt x="149" y="0"/>
                  </a:moveTo>
                  <a:lnTo>
                    <a:pt x="205" y="25"/>
                  </a:lnTo>
                  <a:lnTo>
                    <a:pt x="150" y="76"/>
                  </a:lnTo>
                  <a:lnTo>
                    <a:pt x="100" y="76"/>
                  </a:lnTo>
                  <a:lnTo>
                    <a:pt x="149" y="0"/>
                  </a:lnTo>
                  <a:close/>
                  <a:moveTo>
                    <a:pt x="126" y="281"/>
                  </a:moveTo>
                  <a:cubicBezTo>
                    <a:pt x="135" y="281"/>
                    <a:pt x="143" y="280"/>
                    <a:pt x="151" y="276"/>
                  </a:cubicBezTo>
                  <a:cubicBezTo>
                    <a:pt x="158" y="273"/>
                    <a:pt x="164" y="269"/>
                    <a:pt x="169" y="263"/>
                  </a:cubicBezTo>
                  <a:cubicBezTo>
                    <a:pt x="175" y="257"/>
                    <a:pt x="179" y="250"/>
                    <a:pt x="181" y="243"/>
                  </a:cubicBezTo>
                  <a:cubicBezTo>
                    <a:pt x="184" y="235"/>
                    <a:pt x="185" y="227"/>
                    <a:pt x="185" y="218"/>
                  </a:cubicBezTo>
                  <a:lnTo>
                    <a:pt x="185" y="218"/>
                  </a:lnTo>
                  <a:cubicBezTo>
                    <a:pt x="185" y="209"/>
                    <a:pt x="184" y="201"/>
                    <a:pt x="181" y="193"/>
                  </a:cubicBezTo>
                  <a:cubicBezTo>
                    <a:pt x="178" y="186"/>
                    <a:pt x="174" y="179"/>
                    <a:pt x="169" y="173"/>
                  </a:cubicBezTo>
                  <a:cubicBezTo>
                    <a:pt x="163" y="167"/>
                    <a:pt x="157" y="162"/>
                    <a:pt x="149" y="159"/>
                  </a:cubicBezTo>
                  <a:cubicBezTo>
                    <a:pt x="142" y="156"/>
                    <a:pt x="134" y="154"/>
                    <a:pt x="125" y="154"/>
                  </a:cubicBezTo>
                  <a:cubicBezTo>
                    <a:pt x="115" y="154"/>
                    <a:pt x="107" y="155"/>
                    <a:pt x="99" y="159"/>
                  </a:cubicBezTo>
                  <a:cubicBezTo>
                    <a:pt x="92" y="162"/>
                    <a:pt x="86" y="167"/>
                    <a:pt x="81" y="172"/>
                  </a:cubicBezTo>
                  <a:cubicBezTo>
                    <a:pt x="76" y="178"/>
                    <a:pt x="72" y="185"/>
                    <a:pt x="69" y="192"/>
                  </a:cubicBezTo>
                  <a:cubicBezTo>
                    <a:pt x="66" y="200"/>
                    <a:pt x="65" y="208"/>
                    <a:pt x="65" y="217"/>
                  </a:cubicBezTo>
                  <a:lnTo>
                    <a:pt x="65" y="218"/>
                  </a:lnTo>
                  <a:cubicBezTo>
                    <a:pt x="65" y="226"/>
                    <a:pt x="66" y="234"/>
                    <a:pt x="69" y="242"/>
                  </a:cubicBezTo>
                  <a:cubicBezTo>
                    <a:pt x="72" y="250"/>
                    <a:pt x="76" y="256"/>
                    <a:pt x="82" y="262"/>
                  </a:cubicBezTo>
                  <a:cubicBezTo>
                    <a:pt x="87" y="268"/>
                    <a:pt x="93" y="273"/>
                    <a:pt x="101" y="276"/>
                  </a:cubicBezTo>
                  <a:cubicBezTo>
                    <a:pt x="108" y="280"/>
                    <a:pt x="116" y="281"/>
                    <a:pt x="126" y="281"/>
                  </a:cubicBezTo>
                  <a:close/>
                  <a:moveTo>
                    <a:pt x="125" y="338"/>
                  </a:moveTo>
                  <a:cubicBezTo>
                    <a:pt x="107" y="338"/>
                    <a:pt x="90" y="335"/>
                    <a:pt x="75" y="328"/>
                  </a:cubicBezTo>
                  <a:cubicBezTo>
                    <a:pt x="60" y="322"/>
                    <a:pt x="47" y="314"/>
                    <a:pt x="36" y="303"/>
                  </a:cubicBezTo>
                  <a:cubicBezTo>
                    <a:pt x="25" y="292"/>
                    <a:pt x="16" y="280"/>
                    <a:pt x="10" y="265"/>
                  </a:cubicBezTo>
                  <a:cubicBezTo>
                    <a:pt x="3" y="251"/>
                    <a:pt x="0" y="235"/>
                    <a:pt x="0" y="218"/>
                  </a:cubicBezTo>
                  <a:lnTo>
                    <a:pt x="0" y="218"/>
                  </a:lnTo>
                  <a:cubicBezTo>
                    <a:pt x="0" y="201"/>
                    <a:pt x="3" y="185"/>
                    <a:pt x="10" y="171"/>
                  </a:cubicBezTo>
                  <a:cubicBezTo>
                    <a:pt x="16" y="156"/>
                    <a:pt x="25" y="144"/>
                    <a:pt x="36" y="133"/>
                  </a:cubicBezTo>
                  <a:cubicBezTo>
                    <a:pt x="47" y="122"/>
                    <a:pt x="60" y="113"/>
                    <a:pt x="76" y="107"/>
                  </a:cubicBezTo>
                  <a:cubicBezTo>
                    <a:pt x="91" y="101"/>
                    <a:pt x="107" y="97"/>
                    <a:pt x="126" y="97"/>
                  </a:cubicBezTo>
                  <a:cubicBezTo>
                    <a:pt x="143" y="97"/>
                    <a:pt x="160" y="100"/>
                    <a:pt x="175" y="107"/>
                  </a:cubicBezTo>
                  <a:cubicBezTo>
                    <a:pt x="190" y="113"/>
                    <a:pt x="203" y="121"/>
                    <a:pt x="214" y="132"/>
                  </a:cubicBezTo>
                  <a:cubicBezTo>
                    <a:pt x="226" y="143"/>
                    <a:pt x="234" y="155"/>
                    <a:pt x="241" y="170"/>
                  </a:cubicBezTo>
                  <a:cubicBezTo>
                    <a:pt x="247" y="184"/>
                    <a:pt x="250" y="200"/>
                    <a:pt x="250" y="217"/>
                  </a:cubicBezTo>
                  <a:lnTo>
                    <a:pt x="250" y="218"/>
                  </a:lnTo>
                  <a:cubicBezTo>
                    <a:pt x="250" y="234"/>
                    <a:pt x="247" y="250"/>
                    <a:pt x="241" y="264"/>
                  </a:cubicBezTo>
                  <a:cubicBezTo>
                    <a:pt x="234" y="279"/>
                    <a:pt x="225" y="292"/>
                    <a:pt x="214" y="302"/>
                  </a:cubicBezTo>
                  <a:cubicBezTo>
                    <a:pt x="203" y="313"/>
                    <a:pt x="190" y="322"/>
                    <a:pt x="175" y="328"/>
                  </a:cubicBezTo>
                  <a:cubicBezTo>
                    <a:pt x="159" y="335"/>
                    <a:pt x="143" y="338"/>
                    <a:pt x="125" y="3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2C70A522-7475-8910-C9B1-6B2D28DA3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" y="364"/>
              <a:ext cx="26" cy="30"/>
            </a:xfrm>
            <a:custGeom>
              <a:avLst/>
              <a:gdLst>
                <a:gd name="T0" fmla="*/ 0 w 212"/>
                <a:gd name="T1" fmla="*/ 5 h 236"/>
                <a:gd name="T2" fmla="*/ 66 w 212"/>
                <a:gd name="T3" fmla="*/ 5 h 236"/>
                <a:gd name="T4" fmla="*/ 66 w 212"/>
                <a:gd name="T5" fmla="*/ 38 h 236"/>
                <a:gd name="T6" fmla="*/ 78 w 212"/>
                <a:gd name="T7" fmla="*/ 24 h 236"/>
                <a:gd name="T8" fmla="*/ 93 w 212"/>
                <a:gd name="T9" fmla="*/ 12 h 236"/>
                <a:gd name="T10" fmla="*/ 111 w 212"/>
                <a:gd name="T11" fmla="*/ 3 h 236"/>
                <a:gd name="T12" fmla="*/ 134 w 212"/>
                <a:gd name="T13" fmla="*/ 0 h 236"/>
                <a:gd name="T14" fmla="*/ 191 w 212"/>
                <a:gd name="T15" fmla="*/ 23 h 236"/>
                <a:gd name="T16" fmla="*/ 212 w 212"/>
                <a:gd name="T17" fmla="*/ 86 h 236"/>
                <a:gd name="T18" fmla="*/ 212 w 212"/>
                <a:gd name="T19" fmla="*/ 236 h 236"/>
                <a:gd name="T20" fmla="*/ 146 w 212"/>
                <a:gd name="T21" fmla="*/ 236 h 236"/>
                <a:gd name="T22" fmla="*/ 146 w 212"/>
                <a:gd name="T23" fmla="*/ 107 h 236"/>
                <a:gd name="T24" fmla="*/ 136 w 212"/>
                <a:gd name="T25" fmla="*/ 72 h 236"/>
                <a:gd name="T26" fmla="*/ 107 w 212"/>
                <a:gd name="T27" fmla="*/ 60 h 236"/>
                <a:gd name="T28" fmla="*/ 77 w 212"/>
                <a:gd name="T29" fmla="*/ 72 h 236"/>
                <a:gd name="T30" fmla="*/ 66 w 212"/>
                <a:gd name="T31" fmla="*/ 107 h 236"/>
                <a:gd name="T32" fmla="*/ 66 w 212"/>
                <a:gd name="T33" fmla="*/ 236 h 236"/>
                <a:gd name="T34" fmla="*/ 0 w 212"/>
                <a:gd name="T35" fmla="*/ 236 h 236"/>
                <a:gd name="T36" fmla="*/ 0 w 212"/>
                <a:gd name="T37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2" h="236">
                  <a:moveTo>
                    <a:pt x="0" y="5"/>
                  </a:moveTo>
                  <a:lnTo>
                    <a:pt x="66" y="5"/>
                  </a:lnTo>
                  <a:lnTo>
                    <a:pt x="66" y="38"/>
                  </a:lnTo>
                  <a:cubicBezTo>
                    <a:pt x="70" y="33"/>
                    <a:pt x="74" y="28"/>
                    <a:pt x="78" y="24"/>
                  </a:cubicBezTo>
                  <a:cubicBezTo>
                    <a:pt x="83" y="19"/>
                    <a:pt x="88" y="15"/>
                    <a:pt x="93" y="12"/>
                  </a:cubicBezTo>
                  <a:cubicBezTo>
                    <a:pt x="98" y="8"/>
                    <a:pt x="105" y="5"/>
                    <a:pt x="111" y="3"/>
                  </a:cubicBezTo>
                  <a:cubicBezTo>
                    <a:pt x="118" y="1"/>
                    <a:pt x="125" y="0"/>
                    <a:pt x="134" y="0"/>
                  </a:cubicBezTo>
                  <a:cubicBezTo>
                    <a:pt x="159" y="0"/>
                    <a:pt x="178" y="8"/>
                    <a:pt x="191" y="23"/>
                  </a:cubicBezTo>
                  <a:cubicBezTo>
                    <a:pt x="205" y="38"/>
                    <a:pt x="212" y="59"/>
                    <a:pt x="212" y="86"/>
                  </a:cubicBezTo>
                  <a:lnTo>
                    <a:pt x="212" y="236"/>
                  </a:lnTo>
                  <a:lnTo>
                    <a:pt x="146" y="236"/>
                  </a:lnTo>
                  <a:lnTo>
                    <a:pt x="146" y="107"/>
                  </a:lnTo>
                  <a:cubicBezTo>
                    <a:pt x="146" y="92"/>
                    <a:pt x="143" y="80"/>
                    <a:pt x="136" y="72"/>
                  </a:cubicBezTo>
                  <a:cubicBezTo>
                    <a:pt x="129" y="64"/>
                    <a:pt x="119" y="60"/>
                    <a:pt x="107" y="60"/>
                  </a:cubicBezTo>
                  <a:cubicBezTo>
                    <a:pt x="94" y="60"/>
                    <a:pt x="84" y="64"/>
                    <a:pt x="77" y="72"/>
                  </a:cubicBezTo>
                  <a:cubicBezTo>
                    <a:pt x="70" y="80"/>
                    <a:pt x="66" y="92"/>
                    <a:pt x="66" y="107"/>
                  </a:cubicBezTo>
                  <a:lnTo>
                    <a:pt x="66" y="236"/>
                  </a:lnTo>
                  <a:lnTo>
                    <a:pt x="0" y="236"/>
                  </a:lnTo>
                  <a:lnTo>
                    <a:pt x="0" y="5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A39C4C81-B25A-E7DA-BFE1-7F91A417E4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" y="385"/>
              <a:ext cx="11" cy="18"/>
            </a:xfrm>
            <a:custGeom>
              <a:avLst/>
              <a:gdLst>
                <a:gd name="T0" fmla="*/ 0 w 85"/>
                <a:gd name="T1" fmla="*/ 111 h 138"/>
                <a:gd name="T2" fmla="*/ 42 w 85"/>
                <a:gd name="T3" fmla="*/ 69 h 138"/>
                <a:gd name="T4" fmla="*/ 15 w 85"/>
                <a:gd name="T5" fmla="*/ 69 h 138"/>
                <a:gd name="T6" fmla="*/ 15 w 85"/>
                <a:gd name="T7" fmla="*/ 0 h 138"/>
                <a:gd name="T8" fmla="*/ 85 w 85"/>
                <a:gd name="T9" fmla="*/ 0 h 138"/>
                <a:gd name="T10" fmla="*/ 85 w 85"/>
                <a:gd name="T11" fmla="*/ 58 h 138"/>
                <a:gd name="T12" fmla="*/ 64 w 85"/>
                <a:gd name="T13" fmla="*/ 119 h 138"/>
                <a:gd name="T14" fmla="*/ 5 w 85"/>
                <a:gd name="T15" fmla="*/ 138 h 138"/>
                <a:gd name="T16" fmla="*/ 0 w 85"/>
                <a:gd name="T17" fmla="*/ 111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138">
                  <a:moveTo>
                    <a:pt x="0" y="111"/>
                  </a:moveTo>
                  <a:cubicBezTo>
                    <a:pt x="30" y="108"/>
                    <a:pt x="44" y="94"/>
                    <a:pt x="42" y="69"/>
                  </a:cubicBezTo>
                  <a:lnTo>
                    <a:pt x="15" y="69"/>
                  </a:lnTo>
                  <a:lnTo>
                    <a:pt x="15" y="0"/>
                  </a:lnTo>
                  <a:lnTo>
                    <a:pt x="85" y="0"/>
                  </a:lnTo>
                  <a:lnTo>
                    <a:pt x="85" y="58"/>
                  </a:lnTo>
                  <a:cubicBezTo>
                    <a:pt x="85" y="86"/>
                    <a:pt x="78" y="107"/>
                    <a:pt x="64" y="119"/>
                  </a:cubicBezTo>
                  <a:cubicBezTo>
                    <a:pt x="50" y="132"/>
                    <a:pt x="31" y="138"/>
                    <a:pt x="5" y="138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8CA3512A-A94B-BE0E-C410-F8A0E2BB59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2" y="414"/>
              <a:ext cx="31" cy="38"/>
            </a:xfrm>
            <a:custGeom>
              <a:avLst/>
              <a:gdLst>
                <a:gd name="T0" fmla="*/ 11 w 31"/>
                <a:gd name="T1" fmla="*/ 7 h 38"/>
                <a:gd name="T2" fmla="*/ 0 w 31"/>
                <a:gd name="T3" fmla="*/ 7 h 38"/>
                <a:gd name="T4" fmla="*/ 0 w 31"/>
                <a:gd name="T5" fmla="*/ 0 h 38"/>
                <a:gd name="T6" fmla="*/ 31 w 31"/>
                <a:gd name="T7" fmla="*/ 0 h 38"/>
                <a:gd name="T8" fmla="*/ 31 w 31"/>
                <a:gd name="T9" fmla="*/ 7 h 38"/>
                <a:gd name="T10" fmla="*/ 19 w 31"/>
                <a:gd name="T11" fmla="*/ 7 h 38"/>
                <a:gd name="T12" fmla="*/ 19 w 31"/>
                <a:gd name="T13" fmla="*/ 38 h 38"/>
                <a:gd name="T14" fmla="*/ 11 w 31"/>
                <a:gd name="T15" fmla="*/ 38 h 38"/>
                <a:gd name="T16" fmla="*/ 11 w 31"/>
                <a:gd name="T17" fmla="*/ 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8">
                  <a:moveTo>
                    <a:pt x="11" y="7"/>
                  </a:moveTo>
                  <a:lnTo>
                    <a:pt x="0" y="7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7"/>
                  </a:lnTo>
                  <a:lnTo>
                    <a:pt x="19" y="7"/>
                  </a:lnTo>
                  <a:lnTo>
                    <a:pt x="19" y="38"/>
                  </a:lnTo>
                  <a:lnTo>
                    <a:pt x="11" y="38"/>
                  </a:lnTo>
                  <a:lnTo>
                    <a:pt x="11" y="7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177BD092-A8D7-6ECA-2CE2-6BF4B24AB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8" y="422"/>
              <a:ext cx="17" cy="30"/>
            </a:xfrm>
            <a:custGeom>
              <a:avLst/>
              <a:gdLst>
                <a:gd name="T0" fmla="*/ 0 w 139"/>
                <a:gd name="T1" fmla="*/ 5 h 236"/>
                <a:gd name="T2" fmla="*/ 65 w 139"/>
                <a:gd name="T3" fmla="*/ 5 h 236"/>
                <a:gd name="T4" fmla="*/ 65 w 139"/>
                <a:gd name="T5" fmla="*/ 52 h 236"/>
                <a:gd name="T6" fmla="*/ 92 w 139"/>
                <a:gd name="T7" fmla="*/ 14 h 236"/>
                <a:gd name="T8" fmla="*/ 139 w 139"/>
                <a:gd name="T9" fmla="*/ 1 h 236"/>
                <a:gd name="T10" fmla="*/ 139 w 139"/>
                <a:gd name="T11" fmla="*/ 69 h 236"/>
                <a:gd name="T12" fmla="*/ 136 w 139"/>
                <a:gd name="T13" fmla="*/ 69 h 236"/>
                <a:gd name="T14" fmla="*/ 84 w 139"/>
                <a:gd name="T15" fmla="*/ 89 h 236"/>
                <a:gd name="T16" fmla="*/ 65 w 139"/>
                <a:gd name="T17" fmla="*/ 151 h 236"/>
                <a:gd name="T18" fmla="*/ 65 w 139"/>
                <a:gd name="T19" fmla="*/ 236 h 236"/>
                <a:gd name="T20" fmla="*/ 0 w 139"/>
                <a:gd name="T21" fmla="*/ 236 h 236"/>
                <a:gd name="T22" fmla="*/ 0 w 139"/>
                <a:gd name="T23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236">
                  <a:moveTo>
                    <a:pt x="0" y="5"/>
                  </a:moveTo>
                  <a:lnTo>
                    <a:pt x="65" y="5"/>
                  </a:lnTo>
                  <a:lnTo>
                    <a:pt x="65" y="52"/>
                  </a:lnTo>
                  <a:cubicBezTo>
                    <a:pt x="72" y="36"/>
                    <a:pt x="81" y="23"/>
                    <a:pt x="92" y="14"/>
                  </a:cubicBezTo>
                  <a:cubicBezTo>
                    <a:pt x="104" y="4"/>
                    <a:pt x="119" y="0"/>
                    <a:pt x="139" y="1"/>
                  </a:cubicBezTo>
                  <a:lnTo>
                    <a:pt x="139" y="69"/>
                  </a:lnTo>
                  <a:lnTo>
                    <a:pt x="136" y="69"/>
                  </a:lnTo>
                  <a:cubicBezTo>
                    <a:pt x="114" y="69"/>
                    <a:pt x="97" y="76"/>
                    <a:pt x="84" y="89"/>
                  </a:cubicBezTo>
                  <a:cubicBezTo>
                    <a:pt x="72" y="102"/>
                    <a:pt x="65" y="123"/>
                    <a:pt x="65" y="151"/>
                  </a:cubicBezTo>
                  <a:lnTo>
                    <a:pt x="65" y="236"/>
                  </a:lnTo>
                  <a:lnTo>
                    <a:pt x="0" y="236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C35FC5E2-6BC6-6540-77B3-058599DEA8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9" y="422"/>
              <a:ext cx="26" cy="30"/>
            </a:xfrm>
            <a:custGeom>
              <a:avLst/>
              <a:gdLst>
                <a:gd name="T0" fmla="*/ 99 w 213"/>
                <a:gd name="T1" fmla="*/ 192 h 237"/>
                <a:gd name="T2" fmla="*/ 136 w 213"/>
                <a:gd name="T3" fmla="*/ 181 h 237"/>
                <a:gd name="T4" fmla="*/ 150 w 213"/>
                <a:gd name="T5" fmla="*/ 152 h 237"/>
                <a:gd name="T6" fmla="*/ 150 w 213"/>
                <a:gd name="T7" fmla="*/ 140 h 237"/>
                <a:gd name="T8" fmla="*/ 131 w 213"/>
                <a:gd name="T9" fmla="*/ 134 h 237"/>
                <a:gd name="T10" fmla="*/ 109 w 213"/>
                <a:gd name="T11" fmla="*/ 131 h 237"/>
                <a:gd name="T12" fmla="*/ 76 w 213"/>
                <a:gd name="T13" fmla="*/ 140 h 237"/>
                <a:gd name="T14" fmla="*/ 63 w 213"/>
                <a:gd name="T15" fmla="*/ 163 h 237"/>
                <a:gd name="T16" fmla="*/ 63 w 213"/>
                <a:gd name="T17" fmla="*/ 164 h 237"/>
                <a:gd name="T18" fmla="*/ 73 w 213"/>
                <a:gd name="T19" fmla="*/ 185 h 237"/>
                <a:gd name="T20" fmla="*/ 99 w 213"/>
                <a:gd name="T21" fmla="*/ 192 h 237"/>
                <a:gd name="T22" fmla="*/ 79 w 213"/>
                <a:gd name="T23" fmla="*/ 237 h 237"/>
                <a:gd name="T24" fmla="*/ 49 w 213"/>
                <a:gd name="T25" fmla="*/ 233 h 237"/>
                <a:gd name="T26" fmla="*/ 23 w 213"/>
                <a:gd name="T27" fmla="*/ 219 h 237"/>
                <a:gd name="T28" fmla="*/ 6 w 213"/>
                <a:gd name="T29" fmla="*/ 197 h 237"/>
                <a:gd name="T30" fmla="*/ 0 w 213"/>
                <a:gd name="T31" fmla="*/ 167 h 237"/>
                <a:gd name="T32" fmla="*/ 0 w 213"/>
                <a:gd name="T33" fmla="*/ 166 h 237"/>
                <a:gd name="T34" fmla="*/ 7 w 213"/>
                <a:gd name="T35" fmla="*/ 133 h 237"/>
                <a:gd name="T36" fmla="*/ 26 w 213"/>
                <a:gd name="T37" fmla="*/ 110 h 237"/>
                <a:gd name="T38" fmla="*/ 55 w 213"/>
                <a:gd name="T39" fmla="*/ 97 h 237"/>
                <a:gd name="T40" fmla="*/ 93 w 213"/>
                <a:gd name="T41" fmla="*/ 92 h 237"/>
                <a:gd name="T42" fmla="*/ 124 w 213"/>
                <a:gd name="T43" fmla="*/ 95 h 237"/>
                <a:gd name="T44" fmla="*/ 150 w 213"/>
                <a:gd name="T45" fmla="*/ 102 h 237"/>
                <a:gd name="T46" fmla="*/ 150 w 213"/>
                <a:gd name="T47" fmla="*/ 98 h 237"/>
                <a:gd name="T48" fmla="*/ 137 w 213"/>
                <a:gd name="T49" fmla="*/ 66 h 237"/>
                <a:gd name="T50" fmla="*/ 100 w 213"/>
                <a:gd name="T51" fmla="*/ 56 h 237"/>
                <a:gd name="T52" fmla="*/ 67 w 213"/>
                <a:gd name="T53" fmla="*/ 59 h 237"/>
                <a:gd name="T54" fmla="*/ 36 w 213"/>
                <a:gd name="T55" fmla="*/ 68 h 237"/>
                <a:gd name="T56" fmla="*/ 20 w 213"/>
                <a:gd name="T57" fmla="*/ 18 h 237"/>
                <a:gd name="T58" fmla="*/ 60 w 213"/>
                <a:gd name="T59" fmla="*/ 5 h 237"/>
                <a:gd name="T60" fmla="*/ 110 w 213"/>
                <a:gd name="T61" fmla="*/ 0 h 237"/>
                <a:gd name="T62" fmla="*/ 156 w 213"/>
                <a:gd name="T63" fmla="*/ 6 h 237"/>
                <a:gd name="T64" fmla="*/ 188 w 213"/>
                <a:gd name="T65" fmla="*/ 26 h 237"/>
                <a:gd name="T66" fmla="*/ 206 w 213"/>
                <a:gd name="T67" fmla="*/ 57 h 237"/>
                <a:gd name="T68" fmla="*/ 213 w 213"/>
                <a:gd name="T69" fmla="*/ 99 h 237"/>
                <a:gd name="T70" fmla="*/ 213 w 213"/>
                <a:gd name="T71" fmla="*/ 233 h 237"/>
                <a:gd name="T72" fmla="*/ 149 w 213"/>
                <a:gd name="T73" fmla="*/ 233 h 237"/>
                <a:gd name="T74" fmla="*/ 149 w 213"/>
                <a:gd name="T75" fmla="*/ 208 h 237"/>
                <a:gd name="T76" fmla="*/ 120 w 213"/>
                <a:gd name="T77" fmla="*/ 230 h 237"/>
                <a:gd name="T78" fmla="*/ 79 w 213"/>
                <a:gd name="T79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3" h="237">
                  <a:moveTo>
                    <a:pt x="99" y="192"/>
                  </a:moveTo>
                  <a:cubicBezTo>
                    <a:pt x="115" y="192"/>
                    <a:pt x="127" y="189"/>
                    <a:pt x="136" y="181"/>
                  </a:cubicBezTo>
                  <a:cubicBezTo>
                    <a:pt x="146" y="174"/>
                    <a:pt x="150" y="164"/>
                    <a:pt x="150" y="152"/>
                  </a:cubicBezTo>
                  <a:lnTo>
                    <a:pt x="150" y="140"/>
                  </a:lnTo>
                  <a:cubicBezTo>
                    <a:pt x="145" y="138"/>
                    <a:pt x="138" y="135"/>
                    <a:pt x="131" y="134"/>
                  </a:cubicBezTo>
                  <a:cubicBezTo>
                    <a:pt x="124" y="132"/>
                    <a:pt x="117" y="131"/>
                    <a:pt x="109" y="131"/>
                  </a:cubicBezTo>
                  <a:cubicBezTo>
                    <a:pt x="95" y="131"/>
                    <a:pt x="84" y="134"/>
                    <a:pt x="76" y="140"/>
                  </a:cubicBezTo>
                  <a:cubicBezTo>
                    <a:pt x="67" y="145"/>
                    <a:pt x="63" y="153"/>
                    <a:pt x="63" y="163"/>
                  </a:cubicBezTo>
                  <a:lnTo>
                    <a:pt x="63" y="164"/>
                  </a:lnTo>
                  <a:cubicBezTo>
                    <a:pt x="63" y="173"/>
                    <a:pt x="67" y="180"/>
                    <a:pt x="73" y="185"/>
                  </a:cubicBezTo>
                  <a:cubicBezTo>
                    <a:pt x="80" y="190"/>
                    <a:pt x="89" y="192"/>
                    <a:pt x="99" y="192"/>
                  </a:cubicBezTo>
                  <a:close/>
                  <a:moveTo>
                    <a:pt x="79" y="237"/>
                  </a:moveTo>
                  <a:cubicBezTo>
                    <a:pt x="68" y="237"/>
                    <a:pt x="58" y="236"/>
                    <a:pt x="49" y="233"/>
                  </a:cubicBezTo>
                  <a:cubicBezTo>
                    <a:pt x="39" y="230"/>
                    <a:pt x="31" y="225"/>
                    <a:pt x="23" y="219"/>
                  </a:cubicBezTo>
                  <a:cubicBezTo>
                    <a:pt x="16" y="213"/>
                    <a:pt x="11" y="206"/>
                    <a:pt x="6" y="197"/>
                  </a:cubicBezTo>
                  <a:cubicBezTo>
                    <a:pt x="2" y="188"/>
                    <a:pt x="0" y="178"/>
                    <a:pt x="0" y="167"/>
                  </a:cubicBezTo>
                  <a:lnTo>
                    <a:pt x="0" y="166"/>
                  </a:lnTo>
                  <a:cubicBezTo>
                    <a:pt x="0" y="153"/>
                    <a:pt x="2" y="142"/>
                    <a:pt x="7" y="133"/>
                  </a:cubicBezTo>
                  <a:cubicBezTo>
                    <a:pt x="12" y="124"/>
                    <a:pt x="18" y="116"/>
                    <a:pt x="26" y="110"/>
                  </a:cubicBezTo>
                  <a:cubicBezTo>
                    <a:pt x="34" y="104"/>
                    <a:pt x="44" y="100"/>
                    <a:pt x="55" y="97"/>
                  </a:cubicBezTo>
                  <a:cubicBezTo>
                    <a:pt x="67" y="94"/>
                    <a:pt x="79" y="92"/>
                    <a:pt x="93" y="92"/>
                  </a:cubicBezTo>
                  <a:cubicBezTo>
                    <a:pt x="105" y="92"/>
                    <a:pt x="115" y="93"/>
                    <a:pt x="124" y="95"/>
                  </a:cubicBezTo>
                  <a:cubicBezTo>
                    <a:pt x="133" y="97"/>
                    <a:pt x="141" y="99"/>
                    <a:pt x="150" y="102"/>
                  </a:cubicBezTo>
                  <a:lnTo>
                    <a:pt x="150" y="98"/>
                  </a:lnTo>
                  <a:cubicBezTo>
                    <a:pt x="150" y="84"/>
                    <a:pt x="145" y="74"/>
                    <a:pt x="137" y="66"/>
                  </a:cubicBezTo>
                  <a:cubicBezTo>
                    <a:pt x="129" y="59"/>
                    <a:pt x="116" y="56"/>
                    <a:pt x="100" y="56"/>
                  </a:cubicBezTo>
                  <a:cubicBezTo>
                    <a:pt x="87" y="56"/>
                    <a:pt x="76" y="57"/>
                    <a:pt x="67" y="59"/>
                  </a:cubicBezTo>
                  <a:cubicBezTo>
                    <a:pt x="57" y="61"/>
                    <a:pt x="47" y="64"/>
                    <a:pt x="36" y="68"/>
                  </a:cubicBezTo>
                  <a:lnTo>
                    <a:pt x="20" y="18"/>
                  </a:lnTo>
                  <a:cubicBezTo>
                    <a:pt x="33" y="13"/>
                    <a:pt x="46" y="8"/>
                    <a:pt x="60" y="5"/>
                  </a:cubicBezTo>
                  <a:cubicBezTo>
                    <a:pt x="73" y="1"/>
                    <a:pt x="90" y="0"/>
                    <a:pt x="110" y="0"/>
                  </a:cubicBezTo>
                  <a:cubicBezTo>
                    <a:pt x="128" y="0"/>
                    <a:pt x="143" y="2"/>
                    <a:pt x="156" y="6"/>
                  </a:cubicBezTo>
                  <a:cubicBezTo>
                    <a:pt x="169" y="11"/>
                    <a:pt x="179" y="17"/>
                    <a:pt x="188" y="26"/>
                  </a:cubicBezTo>
                  <a:cubicBezTo>
                    <a:pt x="196" y="34"/>
                    <a:pt x="202" y="45"/>
                    <a:pt x="206" y="57"/>
                  </a:cubicBezTo>
                  <a:cubicBezTo>
                    <a:pt x="211" y="70"/>
                    <a:pt x="213" y="84"/>
                    <a:pt x="213" y="99"/>
                  </a:cubicBezTo>
                  <a:lnTo>
                    <a:pt x="213" y="233"/>
                  </a:lnTo>
                  <a:lnTo>
                    <a:pt x="149" y="233"/>
                  </a:lnTo>
                  <a:lnTo>
                    <a:pt x="149" y="208"/>
                  </a:lnTo>
                  <a:cubicBezTo>
                    <a:pt x="141" y="217"/>
                    <a:pt x="132" y="224"/>
                    <a:pt x="120" y="230"/>
                  </a:cubicBezTo>
                  <a:cubicBezTo>
                    <a:pt x="109" y="235"/>
                    <a:pt x="95" y="237"/>
                    <a:pt x="79" y="237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E22EB8FD-8E25-2409-A920-053FFC8B8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2" y="422"/>
              <a:ext cx="26" cy="30"/>
            </a:xfrm>
            <a:custGeom>
              <a:avLst/>
              <a:gdLst>
                <a:gd name="T0" fmla="*/ 0 w 211"/>
                <a:gd name="T1" fmla="*/ 4 h 235"/>
                <a:gd name="T2" fmla="*/ 65 w 211"/>
                <a:gd name="T3" fmla="*/ 4 h 235"/>
                <a:gd name="T4" fmla="*/ 65 w 211"/>
                <a:gd name="T5" fmla="*/ 37 h 235"/>
                <a:gd name="T6" fmla="*/ 78 w 211"/>
                <a:gd name="T7" fmla="*/ 23 h 235"/>
                <a:gd name="T8" fmla="*/ 93 w 211"/>
                <a:gd name="T9" fmla="*/ 11 h 235"/>
                <a:gd name="T10" fmla="*/ 111 w 211"/>
                <a:gd name="T11" fmla="*/ 3 h 235"/>
                <a:gd name="T12" fmla="*/ 133 w 211"/>
                <a:gd name="T13" fmla="*/ 0 h 235"/>
                <a:gd name="T14" fmla="*/ 191 w 211"/>
                <a:gd name="T15" fmla="*/ 23 h 235"/>
                <a:gd name="T16" fmla="*/ 211 w 211"/>
                <a:gd name="T17" fmla="*/ 86 h 235"/>
                <a:gd name="T18" fmla="*/ 211 w 211"/>
                <a:gd name="T19" fmla="*/ 235 h 235"/>
                <a:gd name="T20" fmla="*/ 146 w 211"/>
                <a:gd name="T21" fmla="*/ 235 h 235"/>
                <a:gd name="T22" fmla="*/ 146 w 211"/>
                <a:gd name="T23" fmla="*/ 107 h 235"/>
                <a:gd name="T24" fmla="*/ 136 w 211"/>
                <a:gd name="T25" fmla="*/ 72 h 235"/>
                <a:gd name="T26" fmla="*/ 106 w 211"/>
                <a:gd name="T27" fmla="*/ 60 h 235"/>
                <a:gd name="T28" fmla="*/ 76 w 211"/>
                <a:gd name="T29" fmla="*/ 72 h 235"/>
                <a:gd name="T30" fmla="*/ 65 w 211"/>
                <a:gd name="T31" fmla="*/ 107 h 235"/>
                <a:gd name="T32" fmla="*/ 65 w 211"/>
                <a:gd name="T33" fmla="*/ 235 h 235"/>
                <a:gd name="T34" fmla="*/ 0 w 211"/>
                <a:gd name="T35" fmla="*/ 235 h 235"/>
                <a:gd name="T36" fmla="*/ 0 w 211"/>
                <a:gd name="T37" fmla="*/ 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1" h="235">
                  <a:moveTo>
                    <a:pt x="0" y="4"/>
                  </a:moveTo>
                  <a:lnTo>
                    <a:pt x="65" y="4"/>
                  </a:lnTo>
                  <a:lnTo>
                    <a:pt x="65" y="37"/>
                  </a:lnTo>
                  <a:cubicBezTo>
                    <a:pt x="69" y="32"/>
                    <a:pt x="73" y="28"/>
                    <a:pt x="78" y="23"/>
                  </a:cubicBezTo>
                  <a:cubicBezTo>
                    <a:pt x="82" y="19"/>
                    <a:pt x="87" y="15"/>
                    <a:pt x="93" y="11"/>
                  </a:cubicBezTo>
                  <a:cubicBezTo>
                    <a:pt x="98" y="8"/>
                    <a:pt x="104" y="5"/>
                    <a:pt x="111" y="3"/>
                  </a:cubicBezTo>
                  <a:cubicBezTo>
                    <a:pt x="117" y="1"/>
                    <a:pt x="125" y="0"/>
                    <a:pt x="133" y="0"/>
                  </a:cubicBezTo>
                  <a:cubicBezTo>
                    <a:pt x="158" y="0"/>
                    <a:pt x="177" y="8"/>
                    <a:pt x="191" y="23"/>
                  </a:cubicBezTo>
                  <a:cubicBezTo>
                    <a:pt x="205" y="38"/>
                    <a:pt x="211" y="59"/>
                    <a:pt x="211" y="86"/>
                  </a:cubicBezTo>
                  <a:lnTo>
                    <a:pt x="211" y="235"/>
                  </a:lnTo>
                  <a:lnTo>
                    <a:pt x="146" y="235"/>
                  </a:lnTo>
                  <a:lnTo>
                    <a:pt x="146" y="107"/>
                  </a:lnTo>
                  <a:cubicBezTo>
                    <a:pt x="146" y="91"/>
                    <a:pt x="143" y="80"/>
                    <a:pt x="136" y="72"/>
                  </a:cubicBezTo>
                  <a:cubicBezTo>
                    <a:pt x="129" y="64"/>
                    <a:pt x="119" y="60"/>
                    <a:pt x="106" y="60"/>
                  </a:cubicBezTo>
                  <a:cubicBezTo>
                    <a:pt x="94" y="60"/>
                    <a:pt x="84" y="64"/>
                    <a:pt x="76" y="72"/>
                  </a:cubicBezTo>
                  <a:cubicBezTo>
                    <a:pt x="69" y="80"/>
                    <a:pt x="65" y="91"/>
                    <a:pt x="65" y="107"/>
                  </a:cubicBezTo>
                  <a:lnTo>
                    <a:pt x="65" y="235"/>
                  </a:lnTo>
                  <a:lnTo>
                    <a:pt x="0" y="235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0DE6F2A8-39CF-941F-7F5E-8EEC0DAD1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3" y="422"/>
              <a:ext cx="23" cy="30"/>
            </a:xfrm>
            <a:custGeom>
              <a:avLst/>
              <a:gdLst>
                <a:gd name="T0" fmla="*/ 99 w 188"/>
                <a:gd name="T1" fmla="*/ 238 h 238"/>
                <a:gd name="T2" fmla="*/ 49 w 188"/>
                <a:gd name="T3" fmla="*/ 230 h 238"/>
                <a:gd name="T4" fmla="*/ 0 w 188"/>
                <a:gd name="T5" fmla="*/ 204 h 238"/>
                <a:gd name="T6" fmla="*/ 28 w 188"/>
                <a:gd name="T7" fmla="*/ 161 h 238"/>
                <a:gd name="T8" fmla="*/ 66 w 188"/>
                <a:gd name="T9" fmla="*/ 181 h 238"/>
                <a:gd name="T10" fmla="*/ 101 w 188"/>
                <a:gd name="T11" fmla="*/ 188 h 238"/>
                <a:gd name="T12" fmla="*/ 122 w 188"/>
                <a:gd name="T13" fmla="*/ 183 h 238"/>
                <a:gd name="T14" fmla="*/ 129 w 188"/>
                <a:gd name="T15" fmla="*/ 171 h 238"/>
                <a:gd name="T16" fmla="*/ 129 w 188"/>
                <a:gd name="T17" fmla="*/ 170 h 238"/>
                <a:gd name="T18" fmla="*/ 125 w 188"/>
                <a:gd name="T19" fmla="*/ 161 h 238"/>
                <a:gd name="T20" fmla="*/ 114 w 188"/>
                <a:gd name="T21" fmla="*/ 154 h 238"/>
                <a:gd name="T22" fmla="*/ 99 w 188"/>
                <a:gd name="T23" fmla="*/ 149 h 238"/>
                <a:gd name="T24" fmla="*/ 81 w 188"/>
                <a:gd name="T25" fmla="*/ 143 h 238"/>
                <a:gd name="T26" fmla="*/ 56 w 188"/>
                <a:gd name="T27" fmla="*/ 135 h 238"/>
                <a:gd name="T28" fmla="*/ 34 w 188"/>
                <a:gd name="T29" fmla="*/ 122 h 238"/>
                <a:gd name="T30" fmla="*/ 18 w 188"/>
                <a:gd name="T31" fmla="*/ 102 h 238"/>
                <a:gd name="T32" fmla="*/ 12 w 188"/>
                <a:gd name="T33" fmla="*/ 74 h 238"/>
                <a:gd name="T34" fmla="*/ 12 w 188"/>
                <a:gd name="T35" fmla="*/ 73 h 238"/>
                <a:gd name="T36" fmla="*/ 19 w 188"/>
                <a:gd name="T37" fmla="*/ 42 h 238"/>
                <a:gd name="T38" fmla="*/ 37 w 188"/>
                <a:gd name="T39" fmla="*/ 19 h 238"/>
                <a:gd name="T40" fmla="*/ 63 w 188"/>
                <a:gd name="T41" fmla="*/ 5 h 238"/>
                <a:gd name="T42" fmla="*/ 96 w 188"/>
                <a:gd name="T43" fmla="*/ 0 h 238"/>
                <a:gd name="T44" fmla="*/ 141 w 188"/>
                <a:gd name="T45" fmla="*/ 7 h 238"/>
                <a:gd name="T46" fmla="*/ 182 w 188"/>
                <a:gd name="T47" fmla="*/ 27 h 238"/>
                <a:gd name="T48" fmla="*/ 158 w 188"/>
                <a:gd name="T49" fmla="*/ 72 h 238"/>
                <a:gd name="T50" fmla="*/ 124 w 188"/>
                <a:gd name="T51" fmla="*/ 56 h 238"/>
                <a:gd name="T52" fmla="*/ 95 w 188"/>
                <a:gd name="T53" fmla="*/ 50 h 238"/>
                <a:gd name="T54" fmla="*/ 77 w 188"/>
                <a:gd name="T55" fmla="*/ 55 h 238"/>
                <a:gd name="T56" fmla="*/ 71 w 188"/>
                <a:gd name="T57" fmla="*/ 66 h 238"/>
                <a:gd name="T58" fmla="*/ 71 w 188"/>
                <a:gd name="T59" fmla="*/ 67 h 238"/>
                <a:gd name="T60" fmla="*/ 75 w 188"/>
                <a:gd name="T61" fmla="*/ 75 h 238"/>
                <a:gd name="T62" fmla="*/ 85 w 188"/>
                <a:gd name="T63" fmla="*/ 82 h 238"/>
                <a:gd name="T64" fmla="*/ 100 w 188"/>
                <a:gd name="T65" fmla="*/ 89 h 238"/>
                <a:gd name="T66" fmla="*/ 118 w 188"/>
                <a:gd name="T67" fmla="*/ 95 h 238"/>
                <a:gd name="T68" fmla="*/ 142 w 188"/>
                <a:gd name="T69" fmla="*/ 104 h 238"/>
                <a:gd name="T70" fmla="*/ 165 w 188"/>
                <a:gd name="T71" fmla="*/ 117 h 238"/>
                <a:gd name="T72" fmla="*/ 181 w 188"/>
                <a:gd name="T73" fmla="*/ 136 h 238"/>
                <a:gd name="T74" fmla="*/ 188 w 188"/>
                <a:gd name="T75" fmla="*/ 163 h 238"/>
                <a:gd name="T76" fmla="*/ 188 w 188"/>
                <a:gd name="T77" fmla="*/ 164 h 238"/>
                <a:gd name="T78" fmla="*/ 181 w 188"/>
                <a:gd name="T79" fmla="*/ 197 h 238"/>
                <a:gd name="T80" fmla="*/ 162 w 188"/>
                <a:gd name="T81" fmla="*/ 220 h 238"/>
                <a:gd name="T82" fmla="*/ 134 w 188"/>
                <a:gd name="T83" fmla="*/ 234 h 238"/>
                <a:gd name="T84" fmla="*/ 99 w 188"/>
                <a:gd name="T85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8" h="238">
                  <a:moveTo>
                    <a:pt x="99" y="238"/>
                  </a:moveTo>
                  <a:cubicBezTo>
                    <a:pt x="83" y="238"/>
                    <a:pt x="66" y="236"/>
                    <a:pt x="49" y="230"/>
                  </a:cubicBezTo>
                  <a:cubicBezTo>
                    <a:pt x="32" y="224"/>
                    <a:pt x="16" y="216"/>
                    <a:pt x="0" y="204"/>
                  </a:cubicBezTo>
                  <a:lnTo>
                    <a:pt x="28" y="161"/>
                  </a:lnTo>
                  <a:cubicBezTo>
                    <a:pt x="41" y="170"/>
                    <a:pt x="53" y="177"/>
                    <a:pt x="66" y="181"/>
                  </a:cubicBezTo>
                  <a:cubicBezTo>
                    <a:pt x="78" y="186"/>
                    <a:pt x="90" y="188"/>
                    <a:pt x="101" y="188"/>
                  </a:cubicBezTo>
                  <a:cubicBezTo>
                    <a:pt x="111" y="188"/>
                    <a:pt x="118" y="186"/>
                    <a:pt x="122" y="183"/>
                  </a:cubicBezTo>
                  <a:cubicBezTo>
                    <a:pt x="126" y="180"/>
                    <a:pt x="129" y="176"/>
                    <a:pt x="129" y="171"/>
                  </a:cubicBezTo>
                  <a:lnTo>
                    <a:pt x="129" y="170"/>
                  </a:lnTo>
                  <a:cubicBezTo>
                    <a:pt x="129" y="167"/>
                    <a:pt x="127" y="164"/>
                    <a:pt x="125" y="161"/>
                  </a:cubicBezTo>
                  <a:cubicBezTo>
                    <a:pt x="122" y="158"/>
                    <a:pt x="119" y="156"/>
                    <a:pt x="114" y="154"/>
                  </a:cubicBezTo>
                  <a:cubicBezTo>
                    <a:pt x="110" y="152"/>
                    <a:pt x="105" y="151"/>
                    <a:pt x="99" y="149"/>
                  </a:cubicBezTo>
                  <a:cubicBezTo>
                    <a:pt x="93" y="147"/>
                    <a:pt x="87" y="145"/>
                    <a:pt x="81" y="143"/>
                  </a:cubicBezTo>
                  <a:cubicBezTo>
                    <a:pt x="73" y="141"/>
                    <a:pt x="65" y="138"/>
                    <a:pt x="56" y="135"/>
                  </a:cubicBezTo>
                  <a:cubicBezTo>
                    <a:pt x="48" y="132"/>
                    <a:pt x="41" y="127"/>
                    <a:pt x="34" y="122"/>
                  </a:cubicBezTo>
                  <a:cubicBezTo>
                    <a:pt x="28" y="117"/>
                    <a:pt x="22" y="110"/>
                    <a:pt x="18" y="102"/>
                  </a:cubicBezTo>
                  <a:cubicBezTo>
                    <a:pt x="14" y="95"/>
                    <a:pt x="12" y="85"/>
                    <a:pt x="12" y="74"/>
                  </a:cubicBezTo>
                  <a:lnTo>
                    <a:pt x="12" y="73"/>
                  </a:lnTo>
                  <a:cubicBezTo>
                    <a:pt x="12" y="61"/>
                    <a:pt x="14" y="51"/>
                    <a:pt x="19" y="42"/>
                  </a:cubicBezTo>
                  <a:cubicBezTo>
                    <a:pt x="23" y="33"/>
                    <a:pt x="29" y="25"/>
                    <a:pt x="37" y="19"/>
                  </a:cubicBezTo>
                  <a:cubicBezTo>
                    <a:pt x="44" y="12"/>
                    <a:pt x="53" y="8"/>
                    <a:pt x="63" y="5"/>
                  </a:cubicBezTo>
                  <a:cubicBezTo>
                    <a:pt x="74" y="1"/>
                    <a:pt x="85" y="0"/>
                    <a:pt x="96" y="0"/>
                  </a:cubicBezTo>
                  <a:cubicBezTo>
                    <a:pt x="111" y="0"/>
                    <a:pt x="126" y="2"/>
                    <a:pt x="141" y="7"/>
                  </a:cubicBezTo>
                  <a:cubicBezTo>
                    <a:pt x="156" y="12"/>
                    <a:pt x="170" y="18"/>
                    <a:pt x="182" y="27"/>
                  </a:cubicBezTo>
                  <a:lnTo>
                    <a:pt x="158" y="72"/>
                  </a:lnTo>
                  <a:cubicBezTo>
                    <a:pt x="146" y="65"/>
                    <a:pt x="135" y="60"/>
                    <a:pt x="124" y="56"/>
                  </a:cubicBezTo>
                  <a:cubicBezTo>
                    <a:pt x="113" y="52"/>
                    <a:pt x="103" y="50"/>
                    <a:pt x="95" y="50"/>
                  </a:cubicBezTo>
                  <a:cubicBezTo>
                    <a:pt x="87" y="50"/>
                    <a:pt x="81" y="52"/>
                    <a:pt x="77" y="55"/>
                  </a:cubicBezTo>
                  <a:cubicBezTo>
                    <a:pt x="73" y="58"/>
                    <a:pt x="71" y="62"/>
                    <a:pt x="71" y="66"/>
                  </a:cubicBezTo>
                  <a:lnTo>
                    <a:pt x="71" y="67"/>
                  </a:lnTo>
                  <a:cubicBezTo>
                    <a:pt x="71" y="70"/>
                    <a:pt x="72" y="73"/>
                    <a:pt x="75" y="75"/>
                  </a:cubicBezTo>
                  <a:cubicBezTo>
                    <a:pt x="77" y="78"/>
                    <a:pt x="81" y="80"/>
                    <a:pt x="85" y="82"/>
                  </a:cubicBezTo>
                  <a:cubicBezTo>
                    <a:pt x="89" y="84"/>
                    <a:pt x="94" y="87"/>
                    <a:pt x="100" y="89"/>
                  </a:cubicBezTo>
                  <a:cubicBezTo>
                    <a:pt x="106" y="91"/>
                    <a:pt x="112" y="93"/>
                    <a:pt x="118" y="95"/>
                  </a:cubicBezTo>
                  <a:cubicBezTo>
                    <a:pt x="126" y="97"/>
                    <a:pt x="134" y="100"/>
                    <a:pt x="142" y="104"/>
                  </a:cubicBezTo>
                  <a:cubicBezTo>
                    <a:pt x="151" y="107"/>
                    <a:pt x="158" y="112"/>
                    <a:pt x="165" y="117"/>
                  </a:cubicBezTo>
                  <a:cubicBezTo>
                    <a:pt x="171" y="122"/>
                    <a:pt x="177" y="128"/>
                    <a:pt x="181" y="136"/>
                  </a:cubicBezTo>
                  <a:cubicBezTo>
                    <a:pt x="186" y="143"/>
                    <a:pt x="188" y="152"/>
                    <a:pt x="188" y="163"/>
                  </a:cubicBezTo>
                  <a:lnTo>
                    <a:pt x="188" y="164"/>
                  </a:lnTo>
                  <a:cubicBezTo>
                    <a:pt x="188" y="177"/>
                    <a:pt x="185" y="188"/>
                    <a:pt x="181" y="197"/>
                  </a:cubicBezTo>
                  <a:cubicBezTo>
                    <a:pt x="177" y="207"/>
                    <a:pt x="170" y="214"/>
                    <a:pt x="162" y="220"/>
                  </a:cubicBezTo>
                  <a:cubicBezTo>
                    <a:pt x="154" y="226"/>
                    <a:pt x="145" y="231"/>
                    <a:pt x="134" y="234"/>
                  </a:cubicBezTo>
                  <a:cubicBezTo>
                    <a:pt x="123" y="237"/>
                    <a:pt x="112" y="238"/>
                    <a:pt x="99" y="2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F7E8643E-9228-F4DA-C3E9-48947C00AC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" y="411"/>
              <a:ext cx="18" cy="41"/>
            </a:xfrm>
            <a:custGeom>
              <a:avLst/>
              <a:gdLst>
                <a:gd name="T0" fmla="*/ 27 w 145"/>
                <a:gd name="T1" fmla="*/ 142 h 317"/>
                <a:gd name="T2" fmla="*/ 0 w 145"/>
                <a:gd name="T3" fmla="*/ 142 h 317"/>
                <a:gd name="T4" fmla="*/ 0 w 145"/>
                <a:gd name="T5" fmla="*/ 88 h 317"/>
                <a:gd name="T6" fmla="*/ 27 w 145"/>
                <a:gd name="T7" fmla="*/ 88 h 317"/>
                <a:gd name="T8" fmla="*/ 27 w 145"/>
                <a:gd name="T9" fmla="*/ 74 h 317"/>
                <a:gd name="T10" fmla="*/ 45 w 145"/>
                <a:gd name="T11" fmla="*/ 18 h 317"/>
                <a:gd name="T12" fmla="*/ 98 w 145"/>
                <a:gd name="T13" fmla="*/ 0 h 317"/>
                <a:gd name="T14" fmla="*/ 125 w 145"/>
                <a:gd name="T15" fmla="*/ 1 h 317"/>
                <a:gd name="T16" fmla="*/ 145 w 145"/>
                <a:gd name="T17" fmla="*/ 6 h 317"/>
                <a:gd name="T18" fmla="*/ 145 w 145"/>
                <a:gd name="T19" fmla="*/ 60 h 317"/>
                <a:gd name="T20" fmla="*/ 131 w 145"/>
                <a:gd name="T21" fmla="*/ 56 h 317"/>
                <a:gd name="T22" fmla="*/ 115 w 145"/>
                <a:gd name="T23" fmla="*/ 55 h 317"/>
                <a:gd name="T24" fmla="*/ 91 w 145"/>
                <a:gd name="T25" fmla="*/ 80 h 317"/>
                <a:gd name="T26" fmla="*/ 91 w 145"/>
                <a:gd name="T27" fmla="*/ 89 h 317"/>
                <a:gd name="T28" fmla="*/ 144 w 145"/>
                <a:gd name="T29" fmla="*/ 89 h 317"/>
                <a:gd name="T30" fmla="*/ 144 w 145"/>
                <a:gd name="T31" fmla="*/ 142 h 317"/>
                <a:gd name="T32" fmla="*/ 92 w 145"/>
                <a:gd name="T33" fmla="*/ 142 h 317"/>
                <a:gd name="T34" fmla="*/ 92 w 145"/>
                <a:gd name="T35" fmla="*/ 317 h 317"/>
                <a:gd name="T36" fmla="*/ 27 w 145"/>
                <a:gd name="T37" fmla="*/ 317 h 317"/>
                <a:gd name="T38" fmla="*/ 27 w 145"/>
                <a:gd name="T39" fmla="*/ 142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5" h="317">
                  <a:moveTo>
                    <a:pt x="27" y="142"/>
                  </a:moveTo>
                  <a:lnTo>
                    <a:pt x="0" y="142"/>
                  </a:lnTo>
                  <a:lnTo>
                    <a:pt x="0" y="88"/>
                  </a:lnTo>
                  <a:lnTo>
                    <a:pt x="27" y="88"/>
                  </a:lnTo>
                  <a:lnTo>
                    <a:pt x="27" y="74"/>
                  </a:lnTo>
                  <a:cubicBezTo>
                    <a:pt x="27" y="49"/>
                    <a:pt x="33" y="30"/>
                    <a:pt x="45" y="18"/>
                  </a:cubicBezTo>
                  <a:cubicBezTo>
                    <a:pt x="57" y="6"/>
                    <a:pt x="75" y="0"/>
                    <a:pt x="98" y="0"/>
                  </a:cubicBezTo>
                  <a:cubicBezTo>
                    <a:pt x="109" y="0"/>
                    <a:pt x="118" y="0"/>
                    <a:pt x="125" y="1"/>
                  </a:cubicBezTo>
                  <a:cubicBezTo>
                    <a:pt x="132" y="3"/>
                    <a:pt x="139" y="4"/>
                    <a:pt x="145" y="6"/>
                  </a:cubicBezTo>
                  <a:lnTo>
                    <a:pt x="145" y="60"/>
                  </a:lnTo>
                  <a:cubicBezTo>
                    <a:pt x="140" y="59"/>
                    <a:pt x="135" y="57"/>
                    <a:pt x="131" y="56"/>
                  </a:cubicBezTo>
                  <a:cubicBezTo>
                    <a:pt x="126" y="55"/>
                    <a:pt x="121" y="55"/>
                    <a:pt x="115" y="55"/>
                  </a:cubicBezTo>
                  <a:cubicBezTo>
                    <a:pt x="99" y="55"/>
                    <a:pt x="91" y="63"/>
                    <a:pt x="91" y="80"/>
                  </a:cubicBezTo>
                  <a:lnTo>
                    <a:pt x="91" y="89"/>
                  </a:lnTo>
                  <a:lnTo>
                    <a:pt x="144" y="89"/>
                  </a:lnTo>
                  <a:lnTo>
                    <a:pt x="144" y="142"/>
                  </a:lnTo>
                  <a:lnTo>
                    <a:pt x="92" y="142"/>
                  </a:lnTo>
                  <a:lnTo>
                    <a:pt x="92" y="317"/>
                  </a:lnTo>
                  <a:lnTo>
                    <a:pt x="27" y="317"/>
                  </a:lnTo>
                  <a:lnTo>
                    <a:pt x="27" y="142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C952E3B4-8386-C851-BE77-E7B97ACEBF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1" y="422"/>
              <a:ext cx="31" cy="31"/>
            </a:xfrm>
            <a:custGeom>
              <a:avLst/>
              <a:gdLst>
                <a:gd name="T0" fmla="*/ 125 w 250"/>
                <a:gd name="T1" fmla="*/ 184 h 240"/>
                <a:gd name="T2" fmla="*/ 151 w 250"/>
                <a:gd name="T3" fmla="*/ 179 h 240"/>
                <a:gd name="T4" fmla="*/ 169 w 250"/>
                <a:gd name="T5" fmla="*/ 165 h 240"/>
                <a:gd name="T6" fmla="*/ 181 w 250"/>
                <a:gd name="T7" fmla="*/ 145 h 240"/>
                <a:gd name="T8" fmla="*/ 185 w 250"/>
                <a:gd name="T9" fmla="*/ 121 h 240"/>
                <a:gd name="T10" fmla="*/ 185 w 250"/>
                <a:gd name="T11" fmla="*/ 120 h 240"/>
                <a:gd name="T12" fmla="*/ 181 w 250"/>
                <a:gd name="T13" fmla="*/ 96 h 240"/>
                <a:gd name="T14" fmla="*/ 168 w 250"/>
                <a:gd name="T15" fmla="*/ 76 h 240"/>
                <a:gd name="T16" fmla="*/ 149 w 250"/>
                <a:gd name="T17" fmla="*/ 62 h 240"/>
                <a:gd name="T18" fmla="*/ 124 w 250"/>
                <a:gd name="T19" fmla="*/ 56 h 240"/>
                <a:gd name="T20" fmla="*/ 99 w 250"/>
                <a:gd name="T21" fmla="*/ 61 h 240"/>
                <a:gd name="T22" fmla="*/ 81 w 250"/>
                <a:gd name="T23" fmla="*/ 75 h 240"/>
                <a:gd name="T24" fmla="*/ 69 w 250"/>
                <a:gd name="T25" fmla="*/ 95 h 240"/>
                <a:gd name="T26" fmla="*/ 65 w 250"/>
                <a:gd name="T27" fmla="*/ 119 h 240"/>
                <a:gd name="T28" fmla="*/ 65 w 250"/>
                <a:gd name="T29" fmla="*/ 120 h 240"/>
                <a:gd name="T30" fmla="*/ 69 w 250"/>
                <a:gd name="T31" fmla="*/ 144 h 240"/>
                <a:gd name="T32" fmla="*/ 81 w 250"/>
                <a:gd name="T33" fmla="*/ 165 h 240"/>
                <a:gd name="T34" fmla="*/ 101 w 250"/>
                <a:gd name="T35" fmla="*/ 179 h 240"/>
                <a:gd name="T36" fmla="*/ 125 w 250"/>
                <a:gd name="T37" fmla="*/ 184 h 240"/>
                <a:gd name="T38" fmla="*/ 124 w 250"/>
                <a:gd name="T39" fmla="*/ 240 h 240"/>
                <a:gd name="T40" fmla="*/ 75 w 250"/>
                <a:gd name="T41" fmla="*/ 231 h 240"/>
                <a:gd name="T42" fmla="*/ 36 w 250"/>
                <a:gd name="T43" fmla="*/ 206 h 240"/>
                <a:gd name="T44" fmla="*/ 9 w 250"/>
                <a:gd name="T45" fmla="*/ 168 h 240"/>
                <a:gd name="T46" fmla="*/ 0 w 250"/>
                <a:gd name="T47" fmla="*/ 121 h 240"/>
                <a:gd name="T48" fmla="*/ 0 w 250"/>
                <a:gd name="T49" fmla="*/ 120 h 240"/>
                <a:gd name="T50" fmla="*/ 9 w 250"/>
                <a:gd name="T51" fmla="*/ 73 h 240"/>
                <a:gd name="T52" fmla="*/ 36 w 250"/>
                <a:gd name="T53" fmla="*/ 35 h 240"/>
                <a:gd name="T54" fmla="*/ 75 w 250"/>
                <a:gd name="T55" fmla="*/ 9 h 240"/>
                <a:gd name="T56" fmla="*/ 125 w 250"/>
                <a:gd name="T57" fmla="*/ 0 h 240"/>
                <a:gd name="T58" fmla="*/ 175 w 250"/>
                <a:gd name="T59" fmla="*/ 9 h 240"/>
                <a:gd name="T60" fmla="*/ 214 w 250"/>
                <a:gd name="T61" fmla="*/ 35 h 240"/>
                <a:gd name="T62" fmla="*/ 240 w 250"/>
                <a:gd name="T63" fmla="*/ 73 h 240"/>
                <a:gd name="T64" fmla="*/ 250 w 250"/>
                <a:gd name="T65" fmla="*/ 119 h 240"/>
                <a:gd name="T66" fmla="*/ 250 w 250"/>
                <a:gd name="T67" fmla="*/ 120 h 240"/>
                <a:gd name="T68" fmla="*/ 240 w 250"/>
                <a:gd name="T69" fmla="*/ 167 h 240"/>
                <a:gd name="T70" fmla="*/ 214 w 250"/>
                <a:gd name="T71" fmla="*/ 205 h 240"/>
                <a:gd name="T72" fmla="*/ 174 w 250"/>
                <a:gd name="T73" fmla="*/ 231 h 240"/>
                <a:gd name="T74" fmla="*/ 124 w 250"/>
                <a:gd name="T7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0" h="240">
                  <a:moveTo>
                    <a:pt x="125" y="184"/>
                  </a:moveTo>
                  <a:cubicBezTo>
                    <a:pt x="135" y="184"/>
                    <a:pt x="143" y="182"/>
                    <a:pt x="151" y="179"/>
                  </a:cubicBezTo>
                  <a:cubicBezTo>
                    <a:pt x="158" y="176"/>
                    <a:pt x="164" y="171"/>
                    <a:pt x="169" y="165"/>
                  </a:cubicBezTo>
                  <a:cubicBezTo>
                    <a:pt x="174" y="160"/>
                    <a:pt x="178" y="153"/>
                    <a:pt x="181" y="145"/>
                  </a:cubicBezTo>
                  <a:cubicBezTo>
                    <a:pt x="184" y="138"/>
                    <a:pt x="185" y="130"/>
                    <a:pt x="185" y="121"/>
                  </a:cubicBezTo>
                  <a:lnTo>
                    <a:pt x="185" y="120"/>
                  </a:lnTo>
                  <a:cubicBezTo>
                    <a:pt x="185" y="112"/>
                    <a:pt x="184" y="103"/>
                    <a:pt x="181" y="96"/>
                  </a:cubicBezTo>
                  <a:cubicBezTo>
                    <a:pt x="178" y="88"/>
                    <a:pt x="174" y="81"/>
                    <a:pt x="168" y="76"/>
                  </a:cubicBezTo>
                  <a:cubicBezTo>
                    <a:pt x="163" y="70"/>
                    <a:pt x="157" y="65"/>
                    <a:pt x="149" y="62"/>
                  </a:cubicBezTo>
                  <a:cubicBezTo>
                    <a:pt x="142" y="58"/>
                    <a:pt x="133" y="56"/>
                    <a:pt x="124" y="56"/>
                  </a:cubicBezTo>
                  <a:cubicBezTo>
                    <a:pt x="115" y="56"/>
                    <a:pt x="107" y="58"/>
                    <a:pt x="99" y="61"/>
                  </a:cubicBezTo>
                  <a:cubicBezTo>
                    <a:pt x="92" y="65"/>
                    <a:pt x="86" y="69"/>
                    <a:pt x="81" y="75"/>
                  </a:cubicBezTo>
                  <a:cubicBezTo>
                    <a:pt x="75" y="81"/>
                    <a:pt x="71" y="87"/>
                    <a:pt x="69" y="95"/>
                  </a:cubicBezTo>
                  <a:cubicBezTo>
                    <a:pt x="66" y="103"/>
                    <a:pt x="65" y="111"/>
                    <a:pt x="65" y="119"/>
                  </a:cubicBezTo>
                  <a:lnTo>
                    <a:pt x="65" y="120"/>
                  </a:lnTo>
                  <a:cubicBezTo>
                    <a:pt x="65" y="129"/>
                    <a:pt x="66" y="137"/>
                    <a:pt x="69" y="144"/>
                  </a:cubicBezTo>
                  <a:cubicBezTo>
                    <a:pt x="72" y="152"/>
                    <a:pt x="76" y="159"/>
                    <a:pt x="81" y="165"/>
                  </a:cubicBezTo>
                  <a:cubicBezTo>
                    <a:pt x="87" y="171"/>
                    <a:pt x="93" y="175"/>
                    <a:pt x="101" y="179"/>
                  </a:cubicBezTo>
                  <a:cubicBezTo>
                    <a:pt x="108" y="182"/>
                    <a:pt x="116" y="184"/>
                    <a:pt x="125" y="184"/>
                  </a:cubicBezTo>
                  <a:close/>
                  <a:moveTo>
                    <a:pt x="124" y="240"/>
                  </a:moveTo>
                  <a:cubicBezTo>
                    <a:pt x="107" y="240"/>
                    <a:pt x="90" y="237"/>
                    <a:pt x="75" y="231"/>
                  </a:cubicBezTo>
                  <a:cubicBezTo>
                    <a:pt x="60" y="225"/>
                    <a:pt x="47" y="216"/>
                    <a:pt x="36" y="206"/>
                  </a:cubicBezTo>
                  <a:cubicBezTo>
                    <a:pt x="24" y="195"/>
                    <a:pt x="16" y="182"/>
                    <a:pt x="9" y="168"/>
                  </a:cubicBezTo>
                  <a:cubicBezTo>
                    <a:pt x="3" y="153"/>
                    <a:pt x="0" y="138"/>
                    <a:pt x="0" y="121"/>
                  </a:cubicBezTo>
                  <a:lnTo>
                    <a:pt x="0" y="120"/>
                  </a:lnTo>
                  <a:cubicBezTo>
                    <a:pt x="0" y="103"/>
                    <a:pt x="3" y="88"/>
                    <a:pt x="9" y="73"/>
                  </a:cubicBezTo>
                  <a:cubicBezTo>
                    <a:pt x="16" y="59"/>
                    <a:pt x="25" y="46"/>
                    <a:pt x="36" y="35"/>
                  </a:cubicBezTo>
                  <a:cubicBezTo>
                    <a:pt x="47" y="24"/>
                    <a:pt x="60" y="16"/>
                    <a:pt x="75" y="9"/>
                  </a:cubicBezTo>
                  <a:cubicBezTo>
                    <a:pt x="91" y="3"/>
                    <a:pt x="107" y="0"/>
                    <a:pt x="125" y="0"/>
                  </a:cubicBezTo>
                  <a:cubicBezTo>
                    <a:pt x="143" y="0"/>
                    <a:pt x="160" y="3"/>
                    <a:pt x="175" y="9"/>
                  </a:cubicBezTo>
                  <a:cubicBezTo>
                    <a:pt x="190" y="15"/>
                    <a:pt x="203" y="24"/>
                    <a:pt x="214" y="35"/>
                  </a:cubicBezTo>
                  <a:cubicBezTo>
                    <a:pt x="225" y="45"/>
                    <a:pt x="234" y="58"/>
                    <a:pt x="240" y="73"/>
                  </a:cubicBezTo>
                  <a:cubicBezTo>
                    <a:pt x="247" y="87"/>
                    <a:pt x="250" y="103"/>
                    <a:pt x="250" y="119"/>
                  </a:cubicBezTo>
                  <a:lnTo>
                    <a:pt x="250" y="120"/>
                  </a:lnTo>
                  <a:cubicBezTo>
                    <a:pt x="250" y="137"/>
                    <a:pt x="247" y="152"/>
                    <a:pt x="240" y="167"/>
                  </a:cubicBezTo>
                  <a:cubicBezTo>
                    <a:pt x="234" y="181"/>
                    <a:pt x="225" y="194"/>
                    <a:pt x="214" y="205"/>
                  </a:cubicBezTo>
                  <a:cubicBezTo>
                    <a:pt x="203" y="216"/>
                    <a:pt x="190" y="225"/>
                    <a:pt x="174" y="231"/>
                  </a:cubicBezTo>
                  <a:cubicBezTo>
                    <a:pt x="159" y="237"/>
                    <a:pt x="143" y="240"/>
                    <a:pt x="124" y="240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8C6488B5-4CF0-C432-3EA9-826522293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8" y="422"/>
              <a:ext cx="17" cy="30"/>
            </a:xfrm>
            <a:custGeom>
              <a:avLst/>
              <a:gdLst>
                <a:gd name="T0" fmla="*/ 0 w 139"/>
                <a:gd name="T1" fmla="*/ 5 h 236"/>
                <a:gd name="T2" fmla="*/ 66 w 139"/>
                <a:gd name="T3" fmla="*/ 5 h 236"/>
                <a:gd name="T4" fmla="*/ 66 w 139"/>
                <a:gd name="T5" fmla="*/ 52 h 236"/>
                <a:gd name="T6" fmla="*/ 93 w 139"/>
                <a:gd name="T7" fmla="*/ 14 h 236"/>
                <a:gd name="T8" fmla="*/ 139 w 139"/>
                <a:gd name="T9" fmla="*/ 1 h 236"/>
                <a:gd name="T10" fmla="*/ 139 w 139"/>
                <a:gd name="T11" fmla="*/ 69 h 236"/>
                <a:gd name="T12" fmla="*/ 136 w 139"/>
                <a:gd name="T13" fmla="*/ 69 h 236"/>
                <a:gd name="T14" fmla="*/ 84 w 139"/>
                <a:gd name="T15" fmla="*/ 89 h 236"/>
                <a:gd name="T16" fmla="*/ 66 w 139"/>
                <a:gd name="T17" fmla="*/ 151 h 236"/>
                <a:gd name="T18" fmla="*/ 66 w 139"/>
                <a:gd name="T19" fmla="*/ 236 h 236"/>
                <a:gd name="T20" fmla="*/ 0 w 139"/>
                <a:gd name="T21" fmla="*/ 236 h 236"/>
                <a:gd name="T22" fmla="*/ 0 w 139"/>
                <a:gd name="T23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236">
                  <a:moveTo>
                    <a:pt x="0" y="5"/>
                  </a:moveTo>
                  <a:lnTo>
                    <a:pt x="66" y="5"/>
                  </a:lnTo>
                  <a:lnTo>
                    <a:pt x="66" y="52"/>
                  </a:lnTo>
                  <a:cubicBezTo>
                    <a:pt x="72" y="36"/>
                    <a:pt x="81" y="23"/>
                    <a:pt x="93" y="14"/>
                  </a:cubicBezTo>
                  <a:cubicBezTo>
                    <a:pt x="104" y="4"/>
                    <a:pt x="120" y="0"/>
                    <a:pt x="139" y="1"/>
                  </a:cubicBezTo>
                  <a:lnTo>
                    <a:pt x="139" y="69"/>
                  </a:lnTo>
                  <a:lnTo>
                    <a:pt x="136" y="69"/>
                  </a:lnTo>
                  <a:cubicBezTo>
                    <a:pt x="114" y="69"/>
                    <a:pt x="97" y="76"/>
                    <a:pt x="84" y="89"/>
                  </a:cubicBezTo>
                  <a:cubicBezTo>
                    <a:pt x="72" y="102"/>
                    <a:pt x="66" y="123"/>
                    <a:pt x="66" y="151"/>
                  </a:cubicBezTo>
                  <a:lnTo>
                    <a:pt x="66" y="236"/>
                  </a:lnTo>
                  <a:lnTo>
                    <a:pt x="0" y="236"/>
                  </a:lnTo>
                  <a:lnTo>
                    <a:pt x="0" y="5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3" name="Freeform 39">
              <a:extLst>
                <a:ext uri="{FF2B5EF4-FFF2-40B4-BE49-F238E27FC236}">
                  <a16:creationId xmlns:a16="http://schemas.microsoft.com/office/drawing/2014/main" id="{07AEA7F4-7BE3-AEBE-990A-FC55FF9FB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" y="422"/>
              <a:ext cx="44" cy="30"/>
            </a:xfrm>
            <a:custGeom>
              <a:avLst/>
              <a:gdLst>
                <a:gd name="T0" fmla="*/ 0 w 353"/>
                <a:gd name="T1" fmla="*/ 4 h 235"/>
                <a:gd name="T2" fmla="*/ 66 w 353"/>
                <a:gd name="T3" fmla="*/ 4 h 235"/>
                <a:gd name="T4" fmla="*/ 66 w 353"/>
                <a:gd name="T5" fmla="*/ 37 h 235"/>
                <a:gd name="T6" fmla="*/ 78 w 353"/>
                <a:gd name="T7" fmla="*/ 23 h 235"/>
                <a:gd name="T8" fmla="*/ 93 w 353"/>
                <a:gd name="T9" fmla="*/ 11 h 235"/>
                <a:gd name="T10" fmla="*/ 111 w 353"/>
                <a:gd name="T11" fmla="*/ 3 h 235"/>
                <a:gd name="T12" fmla="*/ 134 w 353"/>
                <a:gd name="T13" fmla="*/ 0 h 235"/>
                <a:gd name="T14" fmla="*/ 173 w 353"/>
                <a:gd name="T15" fmla="*/ 9 h 235"/>
                <a:gd name="T16" fmla="*/ 199 w 353"/>
                <a:gd name="T17" fmla="*/ 37 h 235"/>
                <a:gd name="T18" fmla="*/ 233 w 353"/>
                <a:gd name="T19" fmla="*/ 9 h 235"/>
                <a:gd name="T20" fmla="*/ 275 w 353"/>
                <a:gd name="T21" fmla="*/ 0 h 235"/>
                <a:gd name="T22" fmla="*/ 332 w 353"/>
                <a:gd name="T23" fmla="*/ 21 h 235"/>
                <a:gd name="T24" fmla="*/ 353 w 353"/>
                <a:gd name="T25" fmla="*/ 85 h 235"/>
                <a:gd name="T26" fmla="*/ 353 w 353"/>
                <a:gd name="T27" fmla="*/ 235 h 235"/>
                <a:gd name="T28" fmla="*/ 287 w 353"/>
                <a:gd name="T29" fmla="*/ 235 h 235"/>
                <a:gd name="T30" fmla="*/ 287 w 353"/>
                <a:gd name="T31" fmla="*/ 107 h 235"/>
                <a:gd name="T32" fmla="*/ 277 w 353"/>
                <a:gd name="T33" fmla="*/ 72 h 235"/>
                <a:gd name="T34" fmla="*/ 249 w 353"/>
                <a:gd name="T35" fmla="*/ 60 h 235"/>
                <a:gd name="T36" fmla="*/ 220 w 353"/>
                <a:gd name="T37" fmla="*/ 72 h 235"/>
                <a:gd name="T38" fmla="*/ 209 w 353"/>
                <a:gd name="T39" fmla="*/ 107 h 235"/>
                <a:gd name="T40" fmla="*/ 209 w 353"/>
                <a:gd name="T41" fmla="*/ 235 h 235"/>
                <a:gd name="T42" fmla="*/ 144 w 353"/>
                <a:gd name="T43" fmla="*/ 235 h 235"/>
                <a:gd name="T44" fmla="*/ 144 w 353"/>
                <a:gd name="T45" fmla="*/ 107 h 235"/>
                <a:gd name="T46" fmla="*/ 134 w 353"/>
                <a:gd name="T47" fmla="*/ 72 h 235"/>
                <a:gd name="T48" fmla="*/ 105 w 353"/>
                <a:gd name="T49" fmla="*/ 60 h 235"/>
                <a:gd name="T50" fmla="*/ 76 w 353"/>
                <a:gd name="T51" fmla="*/ 72 h 235"/>
                <a:gd name="T52" fmla="*/ 66 w 353"/>
                <a:gd name="T53" fmla="*/ 107 h 235"/>
                <a:gd name="T54" fmla="*/ 66 w 353"/>
                <a:gd name="T55" fmla="*/ 235 h 235"/>
                <a:gd name="T56" fmla="*/ 0 w 353"/>
                <a:gd name="T57" fmla="*/ 235 h 235"/>
                <a:gd name="T58" fmla="*/ 0 w 353"/>
                <a:gd name="T59" fmla="*/ 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3" h="235">
                  <a:moveTo>
                    <a:pt x="0" y="4"/>
                  </a:moveTo>
                  <a:lnTo>
                    <a:pt x="66" y="4"/>
                  </a:lnTo>
                  <a:lnTo>
                    <a:pt x="66" y="37"/>
                  </a:lnTo>
                  <a:cubicBezTo>
                    <a:pt x="70" y="32"/>
                    <a:pt x="74" y="28"/>
                    <a:pt x="78" y="23"/>
                  </a:cubicBezTo>
                  <a:cubicBezTo>
                    <a:pt x="83" y="19"/>
                    <a:pt x="87" y="15"/>
                    <a:pt x="93" y="11"/>
                  </a:cubicBezTo>
                  <a:cubicBezTo>
                    <a:pt x="98" y="8"/>
                    <a:pt x="105" y="5"/>
                    <a:pt x="111" y="3"/>
                  </a:cubicBezTo>
                  <a:cubicBezTo>
                    <a:pt x="118" y="1"/>
                    <a:pt x="126" y="0"/>
                    <a:pt x="134" y="0"/>
                  </a:cubicBezTo>
                  <a:cubicBezTo>
                    <a:pt x="149" y="0"/>
                    <a:pt x="162" y="3"/>
                    <a:pt x="173" y="9"/>
                  </a:cubicBezTo>
                  <a:cubicBezTo>
                    <a:pt x="184" y="16"/>
                    <a:pt x="193" y="25"/>
                    <a:pt x="199" y="37"/>
                  </a:cubicBezTo>
                  <a:cubicBezTo>
                    <a:pt x="209" y="25"/>
                    <a:pt x="220" y="15"/>
                    <a:pt x="233" y="9"/>
                  </a:cubicBezTo>
                  <a:cubicBezTo>
                    <a:pt x="245" y="3"/>
                    <a:pt x="259" y="0"/>
                    <a:pt x="275" y="0"/>
                  </a:cubicBezTo>
                  <a:cubicBezTo>
                    <a:pt x="299" y="0"/>
                    <a:pt x="318" y="7"/>
                    <a:pt x="332" y="21"/>
                  </a:cubicBezTo>
                  <a:cubicBezTo>
                    <a:pt x="346" y="36"/>
                    <a:pt x="353" y="57"/>
                    <a:pt x="353" y="85"/>
                  </a:cubicBezTo>
                  <a:lnTo>
                    <a:pt x="353" y="235"/>
                  </a:lnTo>
                  <a:lnTo>
                    <a:pt x="287" y="235"/>
                  </a:lnTo>
                  <a:lnTo>
                    <a:pt x="287" y="107"/>
                  </a:lnTo>
                  <a:cubicBezTo>
                    <a:pt x="287" y="91"/>
                    <a:pt x="284" y="80"/>
                    <a:pt x="277" y="72"/>
                  </a:cubicBezTo>
                  <a:cubicBezTo>
                    <a:pt x="271" y="64"/>
                    <a:pt x="261" y="60"/>
                    <a:pt x="249" y="60"/>
                  </a:cubicBezTo>
                  <a:cubicBezTo>
                    <a:pt x="237" y="60"/>
                    <a:pt x="227" y="64"/>
                    <a:pt x="220" y="72"/>
                  </a:cubicBezTo>
                  <a:cubicBezTo>
                    <a:pt x="213" y="80"/>
                    <a:pt x="209" y="91"/>
                    <a:pt x="209" y="107"/>
                  </a:cubicBezTo>
                  <a:lnTo>
                    <a:pt x="209" y="235"/>
                  </a:lnTo>
                  <a:lnTo>
                    <a:pt x="144" y="235"/>
                  </a:lnTo>
                  <a:lnTo>
                    <a:pt x="144" y="107"/>
                  </a:lnTo>
                  <a:cubicBezTo>
                    <a:pt x="144" y="91"/>
                    <a:pt x="140" y="80"/>
                    <a:pt x="134" y="72"/>
                  </a:cubicBezTo>
                  <a:cubicBezTo>
                    <a:pt x="127" y="64"/>
                    <a:pt x="118" y="60"/>
                    <a:pt x="105" y="60"/>
                  </a:cubicBezTo>
                  <a:cubicBezTo>
                    <a:pt x="93" y="60"/>
                    <a:pt x="83" y="64"/>
                    <a:pt x="76" y="72"/>
                  </a:cubicBezTo>
                  <a:cubicBezTo>
                    <a:pt x="69" y="80"/>
                    <a:pt x="66" y="91"/>
                    <a:pt x="66" y="107"/>
                  </a:cubicBezTo>
                  <a:lnTo>
                    <a:pt x="66" y="235"/>
                  </a:lnTo>
                  <a:lnTo>
                    <a:pt x="0" y="235"/>
                  </a:lnTo>
                  <a:lnTo>
                    <a:pt x="0" y="4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4" name="Freeform 40">
              <a:extLst>
                <a:ext uri="{FF2B5EF4-FFF2-40B4-BE49-F238E27FC236}">
                  <a16:creationId xmlns:a16="http://schemas.microsoft.com/office/drawing/2014/main" id="{AF959081-8B80-5C17-2B45-0B71136053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422"/>
              <a:ext cx="26" cy="30"/>
            </a:xfrm>
            <a:custGeom>
              <a:avLst/>
              <a:gdLst>
                <a:gd name="T0" fmla="*/ 99 w 212"/>
                <a:gd name="T1" fmla="*/ 192 h 237"/>
                <a:gd name="T2" fmla="*/ 136 w 212"/>
                <a:gd name="T3" fmla="*/ 181 h 237"/>
                <a:gd name="T4" fmla="*/ 150 w 212"/>
                <a:gd name="T5" fmla="*/ 152 h 237"/>
                <a:gd name="T6" fmla="*/ 150 w 212"/>
                <a:gd name="T7" fmla="*/ 140 h 237"/>
                <a:gd name="T8" fmla="*/ 131 w 212"/>
                <a:gd name="T9" fmla="*/ 134 h 237"/>
                <a:gd name="T10" fmla="*/ 108 w 212"/>
                <a:gd name="T11" fmla="*/ 131 h 237"/>
                <a:gd name="T12" fmla="*/ 75 w 212"/>
                <a:gd name="T13" fmla="*/ 140 h 237"/>
                <a:gd name="T14" fmla="*/ 63 w 212"/>
                <a:gd name="T15" fmla="*/ 163 h 237"/>
                <a:gd name="T16" fmla="*/ 63 w 212"/>
                <a:gd name="T17" fmla="*/ 164 h 237"/>
                <a:gd name="T18" fmla="*/ 73 w 212"/>
                <a:gd name="T19" fmla="*/ 185 h 237"/>
                <a:gd name="T20" fmla="*/ 99 w 212"/>
                <a:gd name="T21" fmla="*/ 192 h 237"/>
                <a:gd name="T22" fmla="*/ 79 w 212"/>
                <a:gd name="T23" fmla="*/ 237 h 237"/>
                <a:gd name="T24" fmla="*/ 48 w 212"/>
                <a:gd name="T25" fmla="*/ 233 h 237"/>
                <a:gd name="T26" fmla="*/ 23 w 212"/>
                <a:gd name="T27" fmla="*/ 219 h 237"/>
                <a:gd name="T28" fmla="*/ 6 w 212"/>
                <a:gd name="T29" fmla="*/ 197 h 237"/>
                <a:gd name="T30" fmla="*/ 0 w 212"/>
                <a:gd name="T31" fmla="*/ 167 h 237"/>
                <a:gd name="T32" fmla="*/ 0 w 212"/>
                <a:gd name="T33" fmla="*/ 166 h 237"/>
                <a:gd name="T34" fmla="*/ 7 w 212"/>
                <a:gd name="T35" fmla="*/ 133 h 237"/>
                <a:gd name="T36" fmla="*/ 26 w 212"/>
                <a:gd name="T37" fmla="*/ 110 h 237"/>
                <a:gd name="T38" fmla="*/ 55 w 212"/>
                <a:gd name="T39" fmla="*/ 97 h 237"/>
                <a:gd name="T40" fmla="*/ 93 w 212"/>
                <a:gd name="T41" fmla="*/ 92 h 237"/>
                <a:gd name="T42" fmla="*/ 124 w 212"/>
                <a:gd name="T43" fmla="*/ 95 h 237"/>
                <a:gd name="T44" fmla="*/ 149 w 212"/>
                <a:gd name="T45" fmla="*/ 102 h 237"/>
                <a:gd name="T46" fmla="*/ 149 w 212"/>
                <a:gd name="T47" fmla="*/ 98 h 237"/>
                <a:gd name="T48" fmla="*/ 137 w 212"/>
                <a:gd name="T49" fmla="*/ 66 h 237"/>
                <a:gd name="T50" fmla="*/ 100 w 212"/>
                <a:gd name="T51" fmla="*/ 56 h 237"/>
                <a:gd name="T52" fmla="*/ 66 w 212"/>
                <a:gd name="T53" fmla="*/ 59 h 237"/>
                <a:gd name="T54" fmla="*/ 36 w 212"/>
                <a:gd name="T55" fmla="*/ 68 h 237"/>
                <a:gd name="T56" fmla="*/ 20 w 212"/>
                <a:gd name="T57" fmla="*/ 18 h 237"/>
                <a:gd name="T58" fmla="*/ 59 w 212"/>
                <a:gd name="T59" fmla="*/ 5 h 237"/>
                <a:gd name="T60" fmla="*/ 109 w 212"/>
                <a:gd name="T61" fmla="*/ 0 h 237"/>
                <a:gd name="T62" fmla="*/ 156 w 212"/>
                <a:gd name="T63" fmla="*/ 6 h 237"/>
                <a:gd name="T64" fmla="*/ 187 w 212"/>
                <a:gd name="T65" fmla="*/ 26 h 237"/>
                <a:gd name="T66" fmla="*/ 206 w 212"/>
                <a:gd name="T67" fmla="*/ 57 h 237"/>
                <a:gd name="T68" fmla="*/ 212 w 212"/>
                <a:gd name="T69" fmla="*/ 99 h 237"/>
                <a:gd name="T70" fmla="*/ 212 w 212"/>
                <a:gd name="T71" fmla="*/ 233 h 237"/>
                <a:gd name="T72" fmla="*/ 149 w 212"/>
                <a:gd name="T73" fmla="*/ 233 h 237"/>
                <a:gd name="T74" fmla="*/ 149 w 212"/>
                <a:gd name="T75" fmla="*/ 208 h 237"/>
                <a:gd name="T76" fmla="*/ 120 w 212"/>
                <a:gd name="T77" fmla="*/ 230 h 237"/>
                <a:gd name="T78" fmla="*/ 79 w 212"/>
                <a:gd name="T79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2" h="237">
                  <a:moveTo>
                    <a:pt x="99" y="192"/>
                  </a:moveTo>
                  <a:cubicBezTo>
                    <a:pt x="114" y="192"/>
                    <a:pt x="127" y="189"/>
                    <a:pt x="136" y="181"/>
                  </a:cubicBezTo>
                  <a:cubicBezTo>
                    <a:pt x="145" y="174"/>
                    <a:pt x="150" y="164"/>
                    <a:pt x="150" y="152"/>
                  </a:cubicBezTo>
                  <a:lnTo>
                    <a:pt x="150" y="140"/>
                  </a:lnTo>
                  <a:cubicBezTo>
                    <a:pt x="144" y="138"/>
                    <a:pt x="138" y="135"/>
                    <a:pt x="131" y="134"/>
                  </a:cubicBezTo>
                  <a:cubicBezTo>
                    <a:pt x="124" y="132"/>
                    <a:pt x="116" y="131"/>
                    <a:pt x="108" y="131"/>
                  </a:cubicBezTo>
                  <a:cubicBezTo>
                    <a:pt x="94" y="131"/>
                    <a:pt x="83" y="134"/>
                    <a:pt x="75" y="140"/>
                  </a:cubicBezTo>
                  <a:cubicBezTo>
                    <a:pt x="67" y="145"/>
                    <a:pt x="63" y="153"/>
                    <a:pt x="63" y="163"/>
                  </a:cubicBezTo>
                  <a:lnTo>
                    <a:pt x="63" y="164"/>
                  </a:lnTo>
                  <a:cubicBezTo>
                    <a:pt x="63" y="173"/>
                    <a:pt x="66" y="180"/>
                    <a:pt x="73" y="185"/>
                  </a:cubicBezTo>
                  <a:cubicBezTo>
                    <a:pt x="80" y="190"/>
                    <a:pt x="88" y="192"/>
                    <a:pt x="99" y="192"/>
                  </a:cubicBezTo>
                  <a:close/>
                  <a:moveTo>
                    <a:pt x="79" y="237"/>
                  </a:moveTo>
                  <a:cubicBezTo>
                    <a:pt x="68" y="237"/>
                    <a:pt x="58" y="236"/>
                    <a:pt x="48" y="233"/>
                  </a:cubicBezTo>
                  <a:cubicBezTo>
                    <a:pt x="39" y="230"/>
                    <a:pt x="30" y="225"/>
                    <a:pt x="23" y="219"/>
                  </a:cubicBezTo>
                  <a:cubicBezTo>
                    <a:pt x="16" y="213"/>
                    <a:pt x="10" y="206"/>
                    <a:pt x="6" y="197"/>
                  </a:cubicBezTo>
                  <a:cubicBezTo>
                    <a:pt x="2" y="188"/>
                    <a:pt x="0" y="178"/>
                    <a:pt x="0" y="167"/>
                  </a:cubicBezTo>
                  <a:lnTo>
                    <a:pt x="0" y="166"/>
                  </a:lnTo>
                  <a:cubicBezTo>
                    <a:pt x="0" y="153"/>
                    <a:pt x="2" y="142"/>
                    <a:pt x="7" y="133"/>
                  </a:cubicBezTo>
                  <a:cubicBezTo>
                    <a:pt x="11" y="124"/>
                    <a:pt x="18" y="116"/>
                    <a:pt x="26" y="110"/>
                  </a:cubicBezTo>
                  <a:cubicBezTo>
                    <a:pt x="34" y="104"/>
                    <a:pt x="44" y="100"/>
                    <a:pt x="55" y="97"/>
                  </a:cubicBezTo>
                  <a:cubicBezTo>
                    <a:pt x="67" y="94"/>
                    <a:pt x="79" y="92"/>
                    <a:pt x="93" y="92"/>
                  </a:cubicBezTo>
                  <a:cubicBezTo>
                    <a:pt x="105" y="92"/>
                    <a:pt x="115" y="93"/>
                    <a:pt x="124" y="95"/>
                  </a:cubicBezTo>
                  <a:cubicBezTo>
                    <a:pt x="132" y="97"/>
                    <a:pt x="141" y="99"/>
                    <a:pt x="149" y="102"/>
                  </a:cubicBezTo>
                  <a:lnTo>
                    <a:pt x="149" y="98"/>
                  </a:lnTo>
                  <a:cubicBezTo>
                    <a:pt x="149" y="84"/>
                    <a:pt x="145" y="74"/>
                    <a:pt x="137" y="66"/>
                  </a:cubicBezTo>
                  <a:cubicBezTo>
                    <a:pt x="128" y="59"/>
                    <a:pt x="116" y="56"/>
                    <a:pt x="100" y="56"/>
                  </a:cubicBezTo>
                  <a:cubicBezTo>
                    <a:pt x="87" y="56"/>
                    <a:pt x="76" y="57"/>
                    <a:pt x="66" y="59"/>
                  </a:cubicBezTo>
                  <a:cubicBezTo>
                    <a:pt x="57" y="61"/>
                    <a:pt x="47" y="64"/>
                    <a:pt x="36" y="68"/>
                  </a:cubicBezTo>
                  <a:lnTo>
                    <a:pt x="20" y="18"/>
                  </a:lnTo>
                  <a:cubicBezTo>
                    <a:pt x="32" y="13"/>
                    <a:pt x="45" y="8"/>
                    <a:pt x="59" y="5"/>
                  </a:cubicBezTo>
                  <a:cubicBezTo>
                    <a:pt x="73" y="1"/>
                    <a:pt x="90" y="0"/>
                    <a:pt x="109" y="0"/>
                  </a:cubicBezTo>
                  <a:cubicBezTo>
                    <a:pt x="127" y="0"/>
                    <a:pt x="143" y="2"/>
                    <a:pt x="156" y="6"/>
                  </a:cubicBezTo>
                  <a:cubicBezTo>
                    <a:pt x="168" y="11"/>
                    <a:pt x="179" y="17"/>
                    <a:pt x="187" y="26"/>
                  </a:cubicBezTo>
                  <a:cubicBezTo>
                    <a:pt x="196" y="34"/>
                    <a:pt x="202" y="45"/>
                    <a:pt x="206" y="57"/>
                  </a:cubicBezTo>
                  <a:cubicBezTo>
                    <a:pt x="210" y="70"/>
                    <a:pt x="212" y="84"/>
                    <a:pt x="212" y="99"/>
                  </a:cubicBezTo>
                  <a:lnTo>
                    <a:pt x="212" y="233"/>
                  </a:lnTo>
                  <a:lnTo>
                    <a:pt x="149" y="233"/>
                  </a:lnTo>
                  <a:lnTo>
                    <a:pt x="149" y="208"/>
                  </a:lnTo>
                  <a:cubicBezTo>
                    <a:pt x="141" y="217"/>
                    <a:pt x="131" y="224"/>
                    <a:pt x="120" y="230"/>
                  </a:cubicBezTo>
                  <a:cubicBezTo>
                    <a:pt x="109" y="235"/>
                    <a:pt x="95" y="237"/>
                    <a:pt x="79" y="237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51CE1815-7DBC-C337-311F-0E7A31534C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1" y="422"/>
              <a:ext cx="27" cy="31"/>
            </a:xfrm>
            <a:custGeom>
              <a:avLst/>
              <a:gdLst>
                <a:gd name="T0" fmla="*/ 121 w 215"/>
                <a:gd name="T1" fmla="*/ 240 h 240"/>
                <a:gd name="T2" fmla="*/ 73 w 215"/>
                <a:gd name="T3" fmla="*/ 231 h 240"/>
                <a:gd name="T4" fmla="*/ 34 w 215"/>
                <a:gd name="T5" fmla="*/ 205 h 240"/>
                <a:gd name="T6" fmla="*/ 9 w 215"/>
                <a:gd name="T7" fmla="*/ 167 h 240"/>
                <a:gd name="T8" fmla="*/ 0 w 215"/>
                <a:gd name="T9" fmla="*/ 121 h 240"/>
                <a:gd name="T10" fmla="*/ 0 w 215"/>
                <a:gd name="T11" fmla="*/ 120 h 240"/>
                <a:gd name="T12" fmla="*/ 9 w 215"/>
                <a:gd name="T13" fmla="*/ 74 h 240"/>
                <a:gd name="T14" fmla="*/ 34 w 215"/>
                <a:gd name="T15" fmla="*/ 35 h 240"/>
                <a:gd name="T16" fmla="*/ 73 w 215"/>
                <a:gd name="T17" fmla="*/ 9 h 240"/>
                <a:gd name="T18" fmla="*/ 121 w 215"/>
                <a:gd name="T19" fmla="*/ 0 h 240"/>
                <a:gd name="T20" fmla="*/ 176 w 215"/>
                <a:gd name="T21" fmla="*/ 10 h 240"/>
                <a:gd name="T22" fmla="*/ 214 w 215"/>
                <a:gd name="T23" fmla="*/ 39 h 240"/>
                <a:gd name="T24" fmla="*/ 174 w 215"/>
                <a:gd name="T25" fmla="*/ 82 h 240"/>
                <a:gd name="T26" fmla="*/ 151 w 215"/>
                <a:gd name="T27" fmla="*/ 63 h 240"/>
                <a:gd name="T28" fmla="*/ 121 w 215"/>
                <a:gd name="T29" fmla="*/ 56 h 240"/>
                <a:gd name="T30" fmla="*/ 98 w 215"/>
                <a:gd name="T31" fmla="*/ 61 h 240"/>
                <a:gd name="T32" fmla="*/ 81 w 215"/>
                <a:gd name="T33" fmla="*/ 75 h 240"/>
                <a:gd name="T34" fmla="*/ 69 w 215"/>
                <a:gd name="T35" fmla="*/ 95 h 240"/>
                <a:gd name="T36" fmla="*/ 65 w 215"/>
                <a:gd name="T37" fmla="*/ 119 h 240"/>
                <a:gd name="T38" fmla="*/ 65 w 215"/>
                <a:gd name="T39" fmla="*/ 120 h 240"/>
                <a:gd name="T40" fmla="*/ 69 w 215"/>
                <a:gd name="T41" fmla="*/ 145 h 240"/>
                <a:gd name="T42" fmla="*/ 81 w 215"/>
                <a:gd name="T43" fmla="*/ 165 h 240"/>
                <a:gd name="T44" fmla="*/ 100 w 215"/>
                <a:gd name="T45" fmla="*/ 179 h 240"/>
                <a:gd name="T46" fmla="*/ 124 w 215"/>
                <a:gd name="T47" fmla="*/ 184 h 240"/>
                <a:gd name="T48" fmla="*/ 152 w 215"/>
                <a:gd name="T49" fmla="*/ 177 h 240"/>
                <a:gd name="T50" fmla="*/ 177 w 215"/>
                <a:gd name="T51" fmla="*/ 159 h 240"/>
                <a:gd name="T52" fmla="*/ 215 w 215"/>
                <a:gd name="T53" fmla="*/ 198 h 240"/>
                <a:gd name="T54" fmla="*/ 177 w 215"/>
                <a:gd name="T55" fmla="*/ 228 h 240"/>
                <a:gd name="T56" fmla="*/ 121 w 215"/>
                <a:gd name="T57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5" h="240">
                  <a:moveTo>
                    <a:pt x="121" y="240"/>
                  </a:moveTo>
                  <a:cubicBezTo>
                    <a:pt x="103" y="240"/>
                    <a:pt x="87" y="237"/>
                    <a:pt x="73" y="231"/>
                  </a:cubicBezTo>
                  <a:cubicBezTo>
                    <a:pt x="58" y="225"/>
                    <a:pt x="45" y="216"/>
                    <a:pt x="34" y="205"/>
                  </a:cubicBezTo>
                  <a:cubicBezTo>
                    <a:pt x="24" y="194"/>
                    <a:pt x="16" y="182"/>
                    <a:pt x="9" y="167"/>
                  </a:cubicBezTo>
                  <a:cubicBezTo>
                    <a:pt x="3" y="153"/>
                    <a:pt x="0" y="137"/>
                    <a:pt x="0" y="121"/>
                  </a:cubicBezTo>
                  <a:lnTo>
                    <a:pt x="0" y="120"/>
                  </a:lnTo>
                  <a:cubicBezTo>
                    <a:pt x="0" y="104"/>
                    <a:pt x="3" y="88"/>
                    <a:pt x="9" y="74"/>
                  </a:cubicBezTo>
                  <a:cubicBezTo>
                    <a:pt x="16" y="59"/>
                    <a:pt x="24" y="46"/>
                    <a:pt x="34" y="35"/>
                  </a:cubicBezTo>
                  <a:cubicBezTo>
                    <a:pt x="45" y="24"/>
                    <a:pt x="58" y="16"/>
                    <a:pt x="73" y="9"/>
                  </a:cubicBezTo>
                  <a:cubicBezTo>
                    <a:pt x="87" y="3"/>
                    <a:pt x="104" y="0"/>
                    <a:pt x="121" y="0"/>
                  </a:cubicBezTo>
                  <a:cubicBezTo>
                    <a:pt x="143" y="0"/>
                    <a:pt x="161" y="3"/>
                    <a:pt x="176" y="10"/>
                  </a:cubicBezTo>
                  <a:cubicBezTo>
                    <a:pt x="190" y="17"/>
                    <a:pt x="203" y="27"/>
                    <a:pt x="214" y="39"/>
                  </a:cubicBezTo>
                  <a:lnTo>
                    <a:pt x="174" y="82"/>
                  </a:lnTo>
                  <a:cubicBezTo>
                    <a:pt x="166" y="74"/>
                    <a:pt x="158" y="68"/>
                    <a:pt x="151" y="63"/>
                  </a:cubicBezTo>
                  <a:cubicBezTo>
                    <a:pt x="143" y="59"/>
                    <a:pt x="133" y="56"/>
                    <a:pt x="121" y="56"/>
                  </a:cubicBezTo>
                  <a:cubicBezTo>
                    <a:pt x="113" y="56"/>
                    <a:pt x="105" y="58"/>
                    <a:pt x="98" y="61"/>
                  </a:cubicBezTo>
                  <a:cubicBezTo>
                    <a:pt x="92" y="65"/>
                    <a:pt x="86" y="69"/>
                    <a:pt x="81" y="75"/>
                  </a:cubicBezTo>
                  <a:cubicBezTo>
                    <a:pt x="76" y="81"/>
                    <a:pt x="72" y="87"/>
                    <a:pt x="69" y="95"/>
                  </a:cubicBezTo>
                  <a:cubicBezTo>
                    <a:pt x="66" y="103"/>
                    <a:pt x="65" y="111"/>
                    <a:pt x="65" y="119"/>
                  </a:cubicBezTo>
                  <a:lnTo>
                    <a:pt x="65" y="120"/>
                  </a:lnTo>
                  <a:cubicBezTo>
                    <a:pt x="65" y="129"/>
                    <a:pt x="66" y="137"/>
                    <a:pt x="69" y="145"/>
                  </a:cubicBezTo>
                  <a:cubicBezTo>
                    <a:pt x="72" y="153"/>
                    <a:pt x="76" y="160"/>
                    <a:pt x="81" y="165"/>
                  </a:cubicBezTo>
                  <a:cubicBezTo>
                    <a:pt x="86" y="171"/>
                    <a:pt x="92" y="176"/>
                    <a:pt x="100" y="179"/>
                  </a:cubicBezTo>
                  <a:cubicBezTo>
                    <a:pt x="107" y="182"/>
                    <a:pt x="115" y="184"/>
                    <a:pt x="124" y="184"/>
                  </a:cubicBezTo>
                  <a:cubicBezTo>
                    <a:pt x="135" y="184"/>
                    <a:pt x="144" y="182"/>
                    <a:pt x="152" y="177"/>
                  </a:cubicBezTo>
                  <a:cubicBezTo>
                    <a:pt x="160" y="173"/>
                    <a:pt x="169" y="167"/>
                    <a:pt x="177" y="159"/>
                  </a:cubicBezTo>
                  <a:lnTo>
                    <a:pt x="215" y="198"/>
                  </a:lnTo>
                  <a:cubicBezTo>
                    <a:pt x="204" y="210"/>
                    <a:pt x="191" y="221"/>
                    <a:pt x="177" y="228"/>
                  </a:cubicBezTo>
                  <a:cubicBezTo>
                    <a:pt x="162" y="236"/>
                    <a:pt x="144" y="240"/>
                    <a:pt x="121" y="240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FC181A12-89D7-F400-03B3-62710B58B9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3" y="412"/>
              <a:ext cx="9" cy="40"/>
            </a:xfrm>
            <a:custGeom>
              <a:avLst/>
              <a:gdLst>
                <a:gd name="T0" fmla="*/ 2 w 69"/>
                <a:gd name="T1" fmla="*/ 83 h 314"/>
                <a:gd name="T2" fmla="*/ 67 w 69"/>
                <a:gd name="T3" fmla="*/ 83 h 314"/>
                <a:gd name="T4" fmla="*/ 67 w 69"/>
                <a:gd name="T5" fmla="*/ 314 h 314"/>
                <a:gd name="T6" fmla="*/ 2 w 69"/>
                <a:gd name="T7" fmla="*/ 314 h 314"/>
                <a:gd name="T8" fmla="*/ 2 w 69"/>
                <a:gd name="T9" fmla="*/ 83 h 314"/>
                <a:gd name="T10" fmla="*/ 0 w 69"/>
                <a:gd name="T11" fmla="*/ 0 h 314"/>
                <a:gd name="T12" fmla="*/ 69 w 69"/>
                <a:gd name="T13" fmla="*/ 0 h 314"/>
                <a:gd name="T14" fmla="*/ 69 w 69"/>
                <a:gd name="T15" fmla="*/ 58 h 314"/>
                <a:gd name="T16" fmla="*/ 0 w 69"/>
                <a:gd name="T17" fmla="*/ 58 h 314"/>
                <a:gd name="T18" fmla="*/ 0 w 69"/>
                <a:gd name="T19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314">
                  <a:moveTo>
                    <a:pt x="2" y="83"/>
                  </a:moveTo>
                  <a:lnTo>
                    <a:pt x="67" y="83"/>
                  </a:lnTo>
                  <a:lnTo>
                    <a:pt x="67" y="314"/>
                  </a:lnTo>
                  <a:lnTo>
                    <a:pt x="2" y="314"/>
                  </a:lnTo>
                  <a:lnTo>
                    <a:pt x="2" y="83"/>
                  </a:lnTo>
                  <a:close/>
                  <a:moveTo>
                    <a:pt x="0" y="0"/>
                  </a:moveTo>
                  <a:lnTo>
                    <a:pt x="69" y="0"/>
                  </a:lnTo>
                  <a:lnTo>
                    <a:pt x="69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A190AA2A-7792-F528-79DC-C09BE77683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" y="410"/>
              <a:ext cx="31" cy="43"/>
            </a:xfrm>
            <a:custGeom>
              <a:avLst/>
              <a:gdLst>
                <a:gd name="T0" fmla="*/ 148 w 249"/>
                <a:gd name="T1" fmla="*/ 0 h 337"/>
                <a:gd name="T2" fmla="*/ 205 w 249"/>
                <a:gd name="T3" fmla="*/ 24 h 337"/>
                <a:gd name="T4" fmla="*/ 149 w 249"/>
                <a:gd name="T5" fmla="*/ 76 h 337"/>
                <a:gd name="T6" fmla="*/ 99 w 249"/>
                <a:gd name="T7" fmla="*/ 76 h 337"/>
                <a:gd name="T8" fmla="*/ 148 w 249"/>
                <a:gd name="T9" fmla="*/ 0 h 337"/>
                <a:gd name="T10" fmla="*/ 125 w 249"/>
                <a:gd name="T11" fmla="*/ 281 h 337"/>
                <a:gd name="T12" fmla="*/ 150 w 249"/>
                <a:gd name="T13" fmla="*/ 276 h 337"/>
                <a:gd name="T14" fmla="*/ 169 w 249"/>
                <a:gd name="T15" fmla="*/ 262 h 337"/>
                <a:gd name="T16" fmla="*/ 181 w 249"/>
                <a:gd name="T17" fmla="*/ 242 h 337"/>
                <a:gd name="T18" fmla="*/ 185 w 249"/>
                <a:gd name="T19" fmla="*/ 218 h 337"/>
                <a:gd name="T20" fmla="*/ 185 w 249"/>
                <a:gd name="T21" fmla="*/ 217 h 337"/>
                <a:gd name="T22" fmla="*/ 180 w 249"/>
                <a:gd name="T23" fmla="*/ 193 h 337"/>
                <a:gd name="T24" fmla="*/ 168 w 249"/>
                <a:gd name="T25" fmla="*/ 173 h 337"/>
                <a:gd name="T26" fmla="*/ 149 w 249"/>
                <a:gd name="T27" fmla="*/ 159 h 337"/>
                <a:gd name="T28" fmla="*/ 124 w 249"/>
                <a:gd name="T29" fmla="*/ 153 h 337"/>
                <a:gd name="T30" fmla="*/ 99 w 249"/>
                <a:gd name="T31" fmla="*/ 158 h 337"/>
                <a:gd name="T32" fmla="*/ 80 w 249"/>
                <a:gd name="T33" fmla="*/ 172 h 337"/>
                <a:gd name="T34" fmla="*/ 68 w 249"/>
                <a:gd name="T35" fmla="*/ 192 h 337"/>
                <a:gd name="T36" fmla="*/ 64 w 249"/>
                <a:gd name="T37" fmla="*/ 216 h 337"/>
                <a:gd name="T38" fmla="*/ 64 w 249"/>
                <a:gd name="T39" fmla="*/ 217 h 337"/>
                <a:gd name="T40" fmla="*/ 68 w 249"/>
                <a:gd name="T41" fmla="*/ 241 h 337"/>
                <a:gd name="T42" fmla="*/ 81 w 249"/>
                <a:gd name="T43" fmla="*/ 262 h 337"/>
                <a:gd name="T44" fmla="*/ 100 w 249"/>
                <a:gd name="T45" fmla="*/ 276 h 337"/>
                <a:gd name="T46" fmla="*/ 125 w 249"/>
                <a:gd name="T47" fmla="*/ 281 h 337"/>
                <a:gd name="T48" fmla="*/ 124 w 249"/>
                <a:gd name="T49" fmla="*/ 337 h 337"/>
                <a:gd name="T50" fmla="*/ 74 w 249"/>
                <a:gd name="T51" fmla="*/ 328 h 337"/>
                <a:gd name="T52" fmla="*/ 35 w 249"/>
                <a:gd name="T53" fmla="*/ 303 h 337"/>
                <a:gd name="T54" fmla="*/ 9 w 249"/>
                <a:gd name="T55" fmla="*/ 265 h 337"/>
                <a:gd name="T56" fmla="*/ 0 w 249"/>
                <a:gd name="T57" fmla="*/ 218 h 337"/>
                <a:gd name="T58" fmla="*/ 0 w 249"/>
                <a:gd name="T59" fmla="*/ 217 h 337"/>
                <a:gd name="T60" fmla="*/ 9 w 249"/>
                <a:gd name="T61" fmla="*/ 170 h 337"/>
                <a:gd name="T62" fmla="*/ 35 w 249"/>
                <a:gd name="T63" fmla="*/ 132 h 337"/>
                <a:gd name="T64" fmla="*/ 75 w 249"/>
                <a:gd name="T65" fmla="*/ 106 h 337"/>
                <a:gd name="T66" fmla="*/ 125 w 249"/>
                <a:gd name="T67" fmla="*/ 97 h 337"/>
                <a:gd name="T68" fmla="*/ 174 w 249"/>
                <a:gd name="T69" fmla="*/ 106 h 337"/>
                <a:gd name="T70" fmla="*/ 214 w 249"/>
                <a:gd name="T71" fmla="*/ 132 h 337"/>
                <a:gd name="T72" fmla="*/ 240 w 249"/>
                <a:gd name="T73" fmla="*/ 170 h 337"/>
                <a:gd name="T74" fmla="*/ 249 w 249"/>
                <a:gd name="T75" fmla="*/ 216 h 337"/>
                <a:gd name="T76" fmla="*/ 249 w 249"/>
                <a:gd name="T77" fmla="*/ 217 h 337"/>
                <a:gd name="T78" fmla="*/ 240 w 249"/>
                <a:gd name="T79" fmla="*/ 264 h 337"/>
                <a:gd name="T80" fmla="*/ 214 w 249"/>
                <a:gd name="T81" fmla="*/ 302 h 337"/>
                <a:gd name="T82" fmla="*/ 174 w 249"/>
                <a:gd name="T83" fmla="*/ 328 h 337"/>
                <a:gd name="T84" fmla="*/ 124 w 249"/>
                <a:gd name="T85" fmla="*/ 33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9" h="337">
                  <a:moveTo>
                    <a:pt x="148" y="0"/>
                  </a:moveTo>
                  <a:lnTo>
                    <a:pt x="205" y="24"/>
                  </a:lnTo>
                  <a:lnTo>
                    <a:pt x="149" y="76"/>
                  </a:lnTo>
                  <a:lnTo>
                    <a:pt x="99" y="76"/>
                  </a:lnTo>
                  <a:lnTo>
                    <a:pt x="148" y="0"/>
                  </a:lnTo>
                  <a:close/>
                  <a:moveTo>
                    <a:pt x="125" y="281"/>
                  </a:moveTo>
                  <a:cubicBezTo>
                    <a:pt x="134" y="281"/>
                    <a:pt x="143" y="279"/>
                    <a:pt x="150" y="276"/>
                  </a:cubicBezTo>
                  <a:cubicBezTo>
                    <a:pt x="157" y="273"/>
                    <a:pt x="164" y="268"/>
                    <a:pt x="169" y="262"/>
                  </a:cubicBezTo>
                  <a:cubicBezTo>
                    <a:pt x="174" y="257"/>
                    <a:pt x="178" y="250"/>
                    <a:pt x="181" y="242"/>
                  </a:cubicBezTo>
                  <a:cubicBezTo>
                    <a:pt x="183" y="235"/>
                    <a:pt x="185" y="227"/>
                    <a:pt x="185" y="218"/>
                  </a:cubicBezTo>
                  <a:lnTo>
                    <a:pt x="185" y="217"/>
                  </a:lnTo>
                  <a:cubicBezTo>
                    <a:pt x="185" y="209"/>
                    <a:pt x="183" y="200"/>
                    <a:pt x="180" y="193"/>
                  </a:cubicBezTo>
                  <a:cubicBezTo>
                    <a:pt x="178" y="185"/>
                    <a:pt x="173" y="178"/>
                    <a:pt x="168" y="173"/>
                  </a:cubicBezTo>
                  <a:cubicBezTo>
                    <a:pt x="163" y="167"/>
                    <a:pt x="156" y="162"/>
                    <a:pt x="149" y="159"/>
                  </a:cubicBezTo>
                  <a:cubicBezTo>
                    <a:pt x="141" y="155"/>
                    <a:pt x="133" y="153"/>
                    <a:pt x="124" y="153"/>
                  </a:cubicBezTo>
                  <a:cubicBezTo>
                    <a:pt x="115" y="153"/>
                    <a:pt x="106" y="155"/>
                    <a:pt x="99" y="158"/>
                  </a:cubicBezTo>
                  <a:cubicBezTo>
                    <a:pt x="92" y="162"/>
                    <a:pt x="85" y="166"/>
                    <a:pt x="80" y="172"/>
                  </a:cubicBezTo>
                  <a:cubicBezTo>
                    <a:pt x="75" y="178"/>
                    <a:pt x="71" y="184"/>
                    <a:pt x="68" y="192"/>
                  </a:cubicBezTo>
                  <a:cubicBezTo>
                    <a:pt x="66" y="200"/>
                    <a:pt x="64" y="208"/>
                    <a:pt x="64" y="216"/>
                  </a:cubicBezTo>
                  <a:lnTo>
                    <a:pt x="64" y="217"/>
                  </a:lnTo>
                  <a:cubicBezTo>
                    <a:pt x="64" y="226"/>
                    <a:pt x="66" y="234"/>
                    <a:pt x="68" y="241"/>
                  </a:cubicBezTo>
                  <a:cubicBezTo>
                    <a:pt x="71" y="249"/>
                    <a:pt x="75" y="256"/>
                    <a:pt x="81" y="262"/>
                  </a:cubicBezTo>
                  <a:cubicBezTo>
                    <a:pt x="86" y="268"/>
                    <a:pt x="93" y="272"/>
                    <a:pt x="100" y="276"/>
                  </a:cubicBezTo>
                  <a:cubicBezTo>
                    <a:pt x="107" y="279"/>
                    <a:pt x="116" y="281"/>
                    <a:pt x="125" y="281"/>
                  </a:cubicBezTo>
                  <a:close/>
                  <a:moveTo>
                    <a:pt x="124" y="337"/>
                  </a:moveTo>
                  <a:cubicBezTo>
                    <a:pt x="106" y="337"/>
                    <a:pt x="90" y="334"/>
                    <a:pt x="74" y="328"/>
                  </a:cubicBezTo>
                  <a:cubicBezTo>
                    <a:pt x="59" y="322"/>
                    <a:pt x="46" y="313"/>
                    <a:pt x="35" y="303"/>
                  </a:cubicBezTo>
                  <a:cubicBezTo>
                    <a:pt x="24" y="292"/>
                    <a:pt x="15" y="279"/>
                    <a:pt x="9" y="265"/>
                  </a:cubicBezTo>
                  <a:cubicBezTo>
                    <a:pt x="3" y="250"/>
                    <a:pt x="0" y="235"/>
                    <a:pt x="0" y="218"/>
                  </a:cubicBezTo>
                  <a:lnTo>
                    <a:pt x="0" y="217"/>
                  </a:lnTo>
                  <a:cubicBezTo>
                    <a:pt x="0" y="200"/>
                    <a:pt x="3" y="185"/>
                    <a:pt x="9" y="170"/>
                  </a:cubicBezTo>
                  <a:cubicBezTo>
                    <a:pt x="15" y="156"/>
                    <a:pt x="24" y="143"/>
                    <a:pt x="35" y="132"/>
                  </a:cubicBezTo>
                  <a:cubicBezTo>
                    <a:pt x="46" y="121"/>
                    <a:pt x="60" y="113"/>
                    <a:pt x="75" y="106"/>
                  </a:cubicBezTo>
                  <a:cubicBezTo>
                    <a:pt x="90" y="100"/>
                    <a:pt x="107" y="97"/>
                    <a:pt x="125" y="97"/>
                  </a:cubicBezTo>
                  <a:cubicBezTo>
                    <a:pt x="143" y="97"/>
                    <a:pt x="159" y="100"/>
                    <a:pt x="174" y="106"/>
                  </a:cubicBezTo>
                  <a:cubicBezTo>
                    <a:pt x="190" y="112"/>
                    <a:pt x="203" y="121"/>
                    <a:pt x="214" y="132"/>
                  </a:cubicBezTo>
                  <a:cubicBezTo>
                    <a:pt x="225" y="142"/>
                    <a:pt x="234" y="155"/>
                    <a:pt x="240" y="170"/>
                  </a:cubicBezTo>
                  <a:cubicBezTo>
                    <a:pt x="246" y="184"/>
                    <a:pt x="249" y="200"/>
                    <a:pt x="249" y="216"/>
                  </a:cubicBezTo>
                  <a:lnTo>
                    <a:pt x="249" y="217"/>
                  </a:lnTo>
                  <a:cubicBezTo>
                    <a:pt x="249" y="234"/>
                    <a:pt x="246" y="249"/>
                    <a:pt x="240" y="264"/>
                  </a:cubicBezTo>
                  <a:cubicBezTo>
                    <a:pt x="234" y="278"/>
                    <a:pt x="225" y="291"/>
                    <a:pt x="214" y="302"/>
                  </a:cubicBezTo>
                  <a:cubicBezTo>
                    <a:pt x="202" y="313"/>
                    <a:pt x="189" y="322"/>
                    <a:pt x="174" y="328"/>
                  </a:cubicBezTo>
                  <a:cubicBezTo>
                    <a:pt x="159" y="334"/>
                    <a:pt x="142" y="337"/>
                    <a:pt x="124" y="337"/>
                  </a:cubicBez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D4611C54-314E-C4D5-C623-3C9BEDB34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5" y="422"/>
              <a:ext cx="26" cy="30"/>
            </a:xfrm>
            <a:custGeom>
              <a:avLst/>
              <a:gdLst>
                <a:gd name="T0" fmla="*/ 0 w 211"/>
                <a:gd name="T1" fmla="*/ 4 h 235"/>
                <a:gd name="T2" fmla="*/ 65 w 211"/>
                <a:gd name="T3" fmla="*/ 4 h 235"/>
                <a:gd name="T4" fmla="*/ 65 w 211"/>
                <a:gd name="T5" fmla="*/ 37 h 235"/>
                <a:gd name="T6" fmla="*/ 78 w 211"/>
                <a:gd name="T7" fmla="*/ 23 h 235"/>
                <a:gd name="T8" fmla="*/ 92 w 211"/>
                <a:gd name="T9" fmla="*/ 11 h 235"/>
                <a:gd name="T10" fmla="*/ 111 w 211"/>
                <a:gd name="T11" fmla="*/ 3 h 235"/>
                <a:gd name="T12" fmla="*/ 133 w 211"/>
                <a:gd name="T13" fmla="*/ 0 h 235"/>
                <a:gd name="T14" fmla="*/ 191 w 211"/>
                <a:gd name="T15" fmla="*/ 23 h 235"/>
                <a:gd name="T16" fmla="*/ 211 w 211"/>
                <a:gd name="T17" fmla="*/ 86 h 235"/>
                <a:gd name="T18" fmla="*/ 211 w 211"/>
                <a:gd name="T19" fmla="*/ 235 h 235"/>
                <a:gd name="T20" fmla="*/ 146 w 211"/>
                <a:gd name="T21" fmla="*/ 235 h 235"/>
                <a:gd name="T22" fmla="*/ 146 w 211"/>
                <a:gd name="T23" fmla="*/ 107 h 235"/>
                <a:gd name="T24" fmla="*/ 135 w 211"/>
                <a:gd name="T25" fmla="*/ 72 h 235"/>
                <a:gd name="T26" fmla="*/ 106 w 211"/>
                <a:gd name="T27" fmla="*/ 60 h 235"/>
                <a:gd name="T28" fmla="*/ 76 w 211"/>
                <a:gd name="T29" fmla="*/ 72 h 235"/>
                <a:gd name="T30" fmla="*/ 65 w 211"/>
                <a:gd name="T31" fmla="*/ 107 h 235"/>
                <a:gd name="T32" fmla="*/ 65 w 211"/>
                <a:gd name="T33" fmla="*/ 235 h 235"/>
                <a:gd name="T34" fmla="*/ 0 w 211"/>
                <a:gd name="T35" fmla="*/ 235 h 235"/>
                <a:gd name="T36" fmla="*/ 0 w 211"/>
                <a:gd name="T37" fmla="*/ 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1" h="235">
                  <a:moveTo>
                    <a:pt x="0" y="4"/>
                  </a:moveTo>
                  <a:lnTo>
                    <a:pt x="65" y="4"/>
                  </a:lnTo>
                  <a:lnTo>
                    <a:pt x="65" y="37"/>
                  </a:lnTo>
                  <a:cubicBezTo>
                    <a:pt x="69" y="32"/>
                    <a:pt x="73" y="28"/>
                    <a:pt x="78" y="23"/>
                  </a:cubicBezTo>
                  <a:cubicBezTo>
                    <a:pt x="82" y="19"/>
                    <a:pt x="87" y="15"/>
                    <a:pt x="92" y="11"/>
                  </a:cubicBezTo>
                  <a:cubicBezTo>
                    <a:pt x="98" y="8"/>
                    <a:pt x="104" y="5"/>
                    <a:pt x="111" y="3"/>
                  </a:cubicBezTo>
                  <a:cubicBezTo>
                    <a:pt x="117" y="1"/>
                    <a:pt x="125" y="0"/>
                    <a:pt x="133" y="0"/>
                  </a:cubicBezTo>
                  <a:cubicBezTo>
                    <a:pt x="158" y="0"/>
                    <a:pt x="177" y="8"/>
                    <a:pt x="191" y="23"/>
                  </a:cubicBezTo>
                  <a:cubicBezTo>
                    <a:pt x="204" y="38"/>
                    <a:pt x="211" y="59"/>
                    <a:pt x="211" y="86"/>
                  </a:cubicBezTo>
                  <a:lnTo>
                    <a:pt x="211" y="235"/>
                  </a:lnTo>
                  <a:lnTo>
                    <a:pt x="146" y="235"/>
                  </a:lnTo>
                  <a:lnTo>
                    <a:pt x="146" y="107"/>
                  </a:lnTo>
                  <a:cubicBezTo>
                    <a:pt x="146" y="91"/>
                    <a:pt x="142" y="80"/>
                    <a:pt x="135" y="72"/>
                  </a:cubicBezTo>
                  <a:cubicBezTo>
                    <a:pt x="129" y="64"/>
                    <a:pt x="119" y="60"/>
                    <a:pt x="106" y="60"/>
                  </a:cubicBezTo>
                  <a:cubicBezTo>
                    <a:pt x="94" y="60"/>
                    <a:pt x="84" y="64"/>
                    <a:pt x="76" y="72"/>
                  </a:cubicBezTo>
                  <a:cubicBezTo>
                    <a:pt x="69" y="80"/>
                    <a:pt x="65" y="91"/>
                    <a:pt x="65" y="107"/>
                  </a:cubicBezTo>
                  <a:lnTo>
                    <a:pt x="65" y="235"/>
                  </a:lnTo>
                  <a:lnTo>
                    <a:pt x="0" y="235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0950C1DF-6E77-0A6B-EC47-9932C4EFB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6" y="478"/>
              <a:ext cx="30" cy="39"/>
            </a:xfrm>
            <a:custGeom>
              <a:avLst/>
              <a:gdLst>
                <a:gd name="T0" fmla="*/ 75 w 240"/>
                <a:gd name="T1" fmla="*/ 301 h 301"/>
                <a:gd name="T2" fmla="*/ 44 w 240"/>
                <a:gd name="T3" fmla="*/ 297 h 301"/>
                <a:gd name="T4" fmla="*/ 17 w 240"/>
                <a:gd name="T5" fmla="*/ 285 h 301"/>
                <a:gd name="T6" fmla="*/ 39 w 240"/>
                <a:gd name="T7" fmla="*/ 238 h 301"/>
                <a:gd name="T8" fmla="*/ 53 w 240"/>
                <a:gd name="T9" fmla="*/ 244 h 301"/>
                <a:gd name="T10" fmla="*/ 67 w 240"/>
                <a:gd name="T11" fmla="*/ 247 h 301"/>
                <a:gd name="T12" fmla="*/ 81 w 240"/>
                <a:gd name="T13" fmla="*/ 243 h 301"/>
                <a:gd name="T14" fmla="*/ 90 w 240"/>
                <a:gd name="T15" fmla="*/ 231 h 301"/>
                <a:gd name="T16" fmla="*/ 0 w 240"/>
                <a:gd name="T17" fmla="*/ 0 h 301"/>
                <a:gd name="T18" fmla="*/ 69 w 240"/>
                <a:gd name="T19" fmla="*/ 0 h 301"/>
                <a:gd name="T20" fmla="*/ 122 w 240"/>
                <a:gd name="T21" fmla="*/ 157 h 301"/>
                <a:gd name="T22" fmla="*/ 172 w 240"/>
                <a:gd name="T23" fmla="*/ 0 h 301"/>
                <a:gd name="T24" fmla="*/ 240 w 240"/>
                <a:gd name="T25" fmla="*/ 0 h 301"/>
                <a:gd name="T26" fmla="*/ 151 w 240"/>
                <a:gd name="T27" fmla="*/ 236 h 301"/>
                <a:gd name="T28" fmla="*/ 137 w 240"/>
                <a:gd name="T29" fmla="*/ 266 h 301"/>
                <a:gd name="T30" fmla="*/ 121 w 240"/>
                <a:gd name="T31" fmla="*/ 286 h 301"/>
                <a:gd name="T32" fmla="*/ 101 w 240"/>
                <a:gd name="T33" fmla="*/ 297 h 301"/>
                <a:gd name="T34" fmla="*/ 75 w 240"/>
                <a:gd name="T35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301">
                  <a:moveTo>
                    <a:pt x="75" y="301"/>
                  </a:moveTo>
                  <a:cubicBezTo>
                    <a:pt x="63" y="301"/>
                    <a:pt x="53" y="299"/>
                    <a:pt x="44" y="297"/>
                  </a:cubicBezTo>
                  <a:cubicBezTo>
                    <a:pt x="34" y="294"/>
                    <a:pt x="26" y="290"/>
                    <a:pt x="17" y="285"/>
                  </a:cubicBezTo>
                  <a:lnTo>
                    <a:pt x="39" y="238"/>
                  </a:lnTo>
                  <a:cubicBezTo>
                    <a:pt x="44" y="240"/>
                    <a:pt x="48" y="242"/>
                    <a:pt x="53" y="244"/>
                  </a:cubicBezTo>
                  <a:cubicBezTo>
                    <a:pt x="58" y="246"/>
                    <a:pt x="63" y="247"/>
                    <a:pt x="67" y="247"/>
                  </a:cubicBezTo>
                  <a:cubicBezTo>
                    <a:pt x="73" y="247"/>
                    <a:pt x="78" y="245"/>
                    <a:pt x="81" y="243"/>
                  </a:cubicBezTo>
                  <a:cubicBezTo>
                    <a:pt x="84" y="241"/>
                    <a:pt x="87" y="237"/>
                    <a:pt x="90" y="231"/>
                  </a:cubicBezTo>
                  <a:lnTo>
                    <a:pt x="0" y="0"/>
                  </a:lnTo>
                  <a:lnTo>
                    <a:pt x="69" y="0"/>
                  </a:lnTo>
                  <a:lnTo>
                    <a:pt x="122" y="157"/>
                  </a:lnTo>
                  <a:lnTo>
                    <a:pt x="172" y="0"/>
                  </a:lnTo>
                  <a:lnTo>
                    <a:pt x="240" y="0"/>
                  </a:lnTo>
                  <a:lnTo>
                    <a:pt x="151" y="236"/>
                  </a:lnTo>
                  <a:cubicBezTo>
                    <a:pt x="147" y="248"/>
                    <a:pt x="142" y="258"/>
                    <a:pt x="137" y="266"/>
                  </a:cubicBezTo>
                  <a:cubicBezTo>
                    <a:pt x="133" y="274"/>
                    <a:pt x="127" y="281"/>
                    <a:pt x="121" y="286"/>
                  </a:cubicBezTo>
                  <a:cubicBezTo>
                    <a:pt x="115" y="291"/>
                    <a:pt x="109" y="295"/>
                    <a:pt x="101" y="297"/>
                  </a:cubicBezTo>
                  <a:cubicBezTo>
                    <a:pt x="94" y="300"/>
                    <a:pt x="85" y="301"/>
                    <a:pt x="75" y="301"/>
                  </a:cubicBez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0" name="Freeform 46">
              <a:extLst>
                <a:ext uri="{FF2B5EF4-FFF2-40B4-BE49-F238E27FC236}">
                  <a16:creationId xmlns:a16="http://schemas.microsoft.com/office/drawing/2014/main" id="{0B44EEC6-8689-A38D-5FE3-FD90E8C069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8" y="469"/>
              <a:ext cx="32" cy="39"/>
            </a:xfrm>
            <a:custGeom>
              <a:avLst/>
              <a:gdLst>
                <a:gd name="T0" fmla="*/ 133 w 261"/>
                <a:gd name="T1" fmla="*/ 147 h 302"/>
                <a:gd name="T2" fmla="*/ 171 w 261"/>
                <a:gd name="T3" fmla="*/ 135 h 302"/>
                <a:gd name="T4" fmla="*/ 184 w 261"/>
                <a:gd name="T5" fmla="*/ 104 h 302"/>
                <a:gd name="T6" fmla="*/ 184 w 261"/>
                <a:gd name="T7" fmla="*/ 103 h 302"/>
                <a:gd name="T8" fmla="*/ 170 w 261"/>
                <a:gd name="T9" fmla="*/ 71 h 302"/>
                <a:gd name="T10" fmla="*/ 132 w 261"/>
                <a:gd name="T11" fmla="*/ 60 h 302"/>
                <a:gd name="T12" fmla="*/ 66 w 261"/>
                <a:gd name="T13" fmla="*/ 60 h 302"/>
                <a:gd name="T14" fmla="*/ 66 w 261"/>
                <a:gd name="T15" fmla="*/ 147 h 302"/>
                <a:gd name="T16" fmla="*/ 133 w 261"/>
                <a:gd name="T17" fmla="*/ 147 h 302"/>
                <a:gd name="T18" fmla="*/ 0 w 261"/>
                <a:gd name="T19" fmla="*/ 0 h 302"/>
                <a:gd name="T20" fmla="*/ 138 w 261"/>
                <a:gd name="T21" fmla="*/ 0 h 302"/>
                <a:gd name="T22" fmla="*/ 226 w 261"/>
                <a:gd name="T23" fmla="*/ 31 h 302"/>
                <a:gd name="T24" fmla="*/ 251 w 261"/>
                <a:gd name="T25" fmla="*/ 100 h 302"/>
                <a:gd name="T26" fmla="*/ 251 w 261"/>
                <a:gd name="T27" fmla="*/ 100 h 302"/>
                <a:gd name="T28" fmla="*/ 234 w 261"/>
                <a:gd name="T29" fmla="*/ 160 h 302"/>
                <a:gd name="T30" fmla="*/ 187 w 261"/>
                <a:gd name="T31" fmla="*/ 194 h 302"/>
                <a:gd name="T32" fmla="*/ 261 w 261"/>
                <a:gd name="T33" fmla="*/ 302 h 302"/>
                <a:gd name="T34" fmla="*/ 183 w 261"/>
                <a:gd name="T35" fmla="*/ 302 h 302"/>
                <a:gd name="T36" fmla="*/ 118 w 261"/>
                <a:gd name="T37" fmla="*/ 205 h 302"/>
                <a:gd name="T38" fmla="*/ 118 w 261"/>
                <a:gd name="T39" fmla="*/ 205 h 302"/>
                <a:gd name="T40" fmla="*/ 66 w 261"/>
                <a:gd name="T41" fmla="*/ 205 h 302"/>
                <a:gd name="T42" fmla="*/ 66 w 261"/>
                <a:gd name="T43" fmla="*/ 302 h 302"/>
                <a:gd name="T44" fmla="*/ 0 w 261"/>
                <a:gd name="T45" fmla="*/ 302 h 302"/>
                <a:gd name="T46" fmla="*/ 0 w 261"/>
                <a:gd name="T4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1" h="302">
                  <a:moveTo>
                    <a:pt x="133" y="147"/>
                  </a:moveTo>
                  <a:cubicBezTo>
                    <a:pt x="150" y="147"/>
                    <a:pt x="162" y="143"/>
                    <a:pt x="171" y="135"/>
                  </a:cubicBezTo>
                  <a:cubicBezTo>
                    <a:pt x="180" y="127"/>
                    <a:pt x="184" y="117"/>
                    <a:pt x="184" y="104"/>
                  </a:cubicBezTo>
                  <a:lnTo>
                    <a:pt x="184" y="103"/>
                  </a:lnTo>
                  <a:cubicBezTo>
                    <a:pt x="184" y="89"/>
                    <a:pt x="180" y="78"/>
                    <a:pt x="170" y="71"/>
                  </a:cubicBezTo>
                  <a:cubicBezTo>
                    <a:pt x="161" y="64"/>
                    <a:pt x="149" y="60"/>
                    <a:pt x="132" y="60"/>
                  </a:cubicBezTo>
                  <a:lnTo>
                    <a:pt x="66" y="60"/>
                  </a:lnTo>
                  <a:lnTo>
                    <a:pt x="66" y="147"/>
                  </a:lnTo>
                  <a:lnTo>
                    <a:pt x="133" y="147"/>
                  </a:lnTo>
                  <a:close/>
                  <a:moveTo>
                    <a:pt x="0" y="0"/>
                  </a:moveTo>
                  <a:lnTo>
                    <a:pt x="138" y="0"/>
                  </a:lnTo>
                  <a:cubicBezTo>
                    <a:pt x="176" y="0"/>
                    <a:pt x="205" y="10"/>
                    <a:pt x="226" y="31"/>
                  </a:cubicBezTo>
                  <a:cubicBezTo>
                    <a:pt x="243" y="48"/>
                    <a:pt x="251" y="71"/>
                    <a:pt x="251" y="100"/>
                  </a:cubicBezTo>
                  <a:lnTo>
                    <a:pt x="251" y="100"/>
                  </a:lnTo>
                  <a:cubicBezTo>
                    <a:pt x="251" y="125"/>
                    <a:pt x="246" y="145"/>
                    <a:pt x="234" y="160"/>
                  </a:cubicBezTo>
                  <a:cubicBezTo>
                    <a:pt x="222" y="175"/>
                    <a:pt x="206" y="187"/>
                    <a:pt x="187" y="194"/>
                  </a:cubicBezTo>
                  <a:lnTo>
                    <a:pt x="261" y="302"/>
                  </a:lnTo>
                  <a:lnTo>
                    <a:pt x="183" y="302"/>
                  </a:lnTo>
                  <a:lnTo>
                    <a:pt x="118" y="205"/>
                  </a:lnTo>
                  <a:lnTo>
                    <a:pt x="118" y="205"/>
                  </a:lnTo>
                  <a:lnTo>
                    <a:pt x="66" y="205"/>
                  </a:lnTo>
                  <a:lnTo>
                    <a:pt x="66" y="302"/>
                  </a:lnTo>
                  <a:lnTo>
                    <a:pt x="0" y="302"/>
                  </a:lnTo>
                  <a:lnTo>
                    <a:pt x="0" y="0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1" name="Freeform 47">
              <a:extLst>
                <a:ext uri="{FF2B5EF4-FFF2-40B4-BE49-F238E27FC236}">
                  <a16:creationId xmlns:a16="http://schemas.microsoft.com/office/drawing/2014/main" id="{3B68563B-B2A9-A472-ECFE-174AC01725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4" y="478"/>
              <a:ext cx="28" cy="30"/>
            </a:xfrm>
            <a:custGeom>
              <a:avLst/>
              <a:gdLst>
                <a:gd name="T0" fmla="*/ 163 w 227"/>
                <a:gd name="T1" fmla="*/ 102 h 241"/>
                <a:gd name="T2" fmla="*/ 148 w 227"/>
                <a:gd name="T3" fmla="*/ 67 h 241"/>
                <a:gd name="T4" fmla="*/ 114 w 227"/>
                <a:gd name="T5" fmla="*/ 53 h 241"/>
                <a:gd name="T6" fmla="*/ 81 w 227"/>
                <a:gd name="T7" fmla="*/ 66 h 241"/>
                <a:gd name="T8" fmla="*/ 64 w 227"/>
                <a:gd name="T9" fmla="*/ 102 h 241"/>
                <a:gd name="T10" fmla="*/ 163 w 227"/>
                <a:gd name="T11" fmla="*/ 102 h 241"/>
                <a:gd name="T12" fmla="*/ 121 w 227"/>
                <a:gd name="T13" fmla="*/ 241 h 241"/>
                <a:gd name="T14" fmla="*/ 73 w 227"/>
                <a:gd name="T15" fmla="*/ 232 h 241"/>
                <a:gd name="T16" fmla="*/ 35 w 227"/>
                <a:gd name="T17" fmla="*/ 208 h 241"/>
                <a:gd name="T18" fmla="*/ 9 w 227"/>
                <a:gd name="T19" fmla="*/ 170 h 241"/>
                <a:gd name="T20" fmla="*/ 0 w 227"/>
                <a:gd name="T21" fmla="*/ 121 h 241"/>
                <a:gd name="T22" fmla="*/ 0 w 227"/>
                <a:gd name="T23" fmla="*/ 121 h 241"/>
                <a:gd name="T24" fmla="*/ 9 w 227"/>
                <a:gd name="T25" fmla="*/ 74 h 241"/>
                <a:gd name="T26" fmla="*/ 32 w 227"/>
                <a:gd name="T27" fmla="*/ 36 h 241"/>
                <a:gd name="T28" fmla="*/ 68 w 227"/>
                <a:gd name="T29" fmla="*/ 10 h 241"/>
                <a:gd name="T30" fmla="*/ 114 w 227"/>
                <a:gd name="T31" fmla="*/ 0 h 241"/>
                <a:gd name="T32" fmla="*/ 164 w 227"/>
                <a:gd name="T33" fmla="*/ 11 h 241"/>
                <a:gd name="T34" fmla="*/ 200 w 227"/>
                <a:gd name="T35" fmla="*/ 39 h 241"/>
                <a:gd name="T36" fmla="*/ 220 w 227"/>
                <a:gd name="T37" fmla="*/ 79 h 241"/>
                <a:gd name="T38" fmla="*/ 227 w 227"/>
                <a:gd name="T39" fmla="*/ 126 h 241"/>
                <a:gd name="T40" fmla="*/ 227 w 227"/>
                <a:gd name="T41" fmla="*/ 134 h 241"/>
                <a:gd name="T42" fmla="*/ 226 w 227"/>
                <a:gd name="T43" fmla="*/ 143 h 241"/>
                <a:gd name="T44" fmla="*/ 65 w 227"/>
                <a:gd name="T45" fmla="*/ 143 h 241"/>
                <a:gd name="T46" fmla="*/ 85 w 227"/>
                <a:gd name="T47" fmla="*/ 177 h 241"/>
                <a:gd name="T48" fmla="*/ 122 w 227"/>
                <a:gd name="T49" fmla="*/ 188 h 241"/>
                <a:gd name="T50" fmla="*/ 151 w 227"/>
                <a:gd name="T51" fmla="*/ 183 h 241"/>
                <a:gd name="T52" fmla="*/ 178 w 227"/>
                <a:gd name="T53" fmla="*/ 165 h 241"/>
                <a:gd name="T54" fmla="*/ 215 w 227"/>
                <a:gd name="T55" fmla="*/ 198 h 241"/>
                <a:gd name="T56" fmla="*/ 176 w 227"/>
                <a:gd name="T57" fmla="*/ 229 h 241"/>
                <a:gd name="T58" fmla="*/ 121 w 227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7" h="241">
                  <a:moveTo>
                    <a:pt x="163" y="102"/>
                  </a:moveTo>
                  <a:cubicBezTo>
                    <a:pt x="161" y="87"/>
                    <a:pt x="156" y="76"/>
                    <a:pt x="148" y="67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1" y="53"/>
                    <a:pt x="90" y="57"/>
                    <a:pt x="81" y="66"/>
                  </a:cubicBezTo>
                  <a:cubicBezTo>
                    <a:pt x="73" y="75"/>
                    <a:pt x="67" y="87"/>
                    <a:pt x="64" y="102"/>
                  </a:cubicBezTo>
                  <a:lnTo>
                    <a:pt x="163" y="102"/>
                  </a:lnTo>
                  <a:close/>
                  <a:moveTo>
                    <a:pt x="121" y="241"/>
                  </a:moveTo>
                  <a:cubicBezTo>
                    <a:pt x="104" y="241"/>
                    <a:pt x="88" y="238"/>
                    <a:pt x="73" y="232"/>
                  </a:cubicBezTo>
                  <a:cubicBezTo>
                    <a:pt x="58" y="226"/>
                    <a:pt x="45" y="218"/>
                    <a:pt x="35" y="208"/>
                  </a:cubicBezTo>
                  <a:cubicBezTo>
                    <a:pt x="24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9" y="74"/>
                  </a:cubicBezTo>
                  <a:cubicBezTo>
                    <a:pt x="14" y="59"/>
                    <a:pt x="22" y="47"/>
                    <a:pt x="32" y="36"/>
                  </a:cubicBezTo>
                  <a:cubicBezTo>
                    <a:pt x="42" y="25"/>
                    <a:pt x="54" y="16"/>
                    <a:pt x="68" y="10"/>
                  </a:cubicBezTo>
                  <a:cubicBezTo>
                    <a:pt x="82" y="4"/>
                    <a:pt x="97" y="0"/>
                    <a:pt x="114" y="0"/>
                  </a:cubicBezTo>
                  <a:cubicBezTo>
                    <a:pt x="134" y="0"/>
                    <a:pt x="150" y="4"/>
                    <a:pt x="164" y="11"/>
                  </a:cubicBezTo>
                  <a:cubicBezTo>
                    <a:pt x="178" y="18"/>
                    <a:pt x="190" y="27"/>
                    <a:pt x="200" y="39"/>
                  </a:cubicBezTo>
                  <a:cubicBezTo>
                    <a:pt x="209" y="50"/>
                    <a:pt x="216" y="64"/>
                    <a:pt x="220" y="79"/>
                  </a:cubicBezTo>
                  <a:cubicBezTo>
                    <a:pt x="225" y="94"/>
                    <a:pt x="227" y="109"/>
                    <a:pt x="227" y="126"/>
                  </a:cubicBezTo>
                  <a:cubicBezTo>
                    <a:pt x="227" y="128"/>
                    <a:pt x="227" y="131"/>
                    <a:pt x="227" y="134"/>
                  </a:cubicBezTo>
                  <a:cubicBezTo>
                    <a:pt x="227" y="137"/>
                    <a:pt x="226" y="140"/>
                    <a:pt x="226" y="143"/>
                  </a:cubicBezTo>
                  <a:lnTo>
                    <a:pt x="65" y="143"/>
                  </a:lnTo>
                  <a:cubicBezTo>
                    <a:pt x="68" y="158"/>
                    <a:pt x="75" y="169"/>
                    <a:pt x="85" y="177"/>
                  </a:cubicBezTo>
                  <a:cubicBezTo>
                    <a:pt x="95" y="184"/>
                    <a:pt x="107" y="188"/>
                    <a:pt x="122" y="188"/>
                  </a:cubicBezTo>
                  <a:cubicBezTo>
                    <a:pt x="133" y="188"/>
                    <a:pt x="142" y="186"/>
                    <a:pt x="151" y="183"/>
                  </a:cubicBezTo>
                  <a:cubicBezTo>
                    <a:pt x="160" y="179"/>
                    <a:pt x="169" y="173"/>
                    <a:pt x="178" y="165"/>
                  </a:cubicBezTo>
                  <a:lnTo>
                    <a:pt x="215" y="198"/>
                  </a:lnTo>
                  <a:cubicBezTo>
                    <a:pt x="204" y="211"/>
                    <a:pt x="191" y="222"/>
                    <a:pt x="176" y="229"/>
                  </a:cubicBezTo>
                  <a:cubicBezTo>
                    <a:pt x="160" y="237"/>
                    <a:pt x="142" y="241"/>
                    <a:pt x="121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2" name="Freeform 48">
              <a:extLst>
                <a:ext uri="{FF2B5EF4-FFF2-40B4-BE49-F238E27FC236}">
                  <a16:creationId xmlns:a16="http://schemas.microsoft.com/office/drawing/2014/main" id="{D1D44C9B-4FF0-68CB-13A5-33C9A82E8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6" y="478"/>
              <a:ext cx="23" cy="30"/>
            </a:xfrm>
            <a:custGeom>
              <a:avLst/>
              <a:gdLst>
                <a:gd name="T0" fmla="*/ 100 w 188"/>
                <a:gd name="T1" fmla="*/ 239 h 239"/>
                <a:gd name="T2" fmla="*/ 49 w 188"/>
                <a:gd name="T3" fmla="*/ 231 h 239"/>
                <a:gd name="T4" fmla="*/ 0 w 188"/>
                <a:gd name="T5" fmla="*/ 204 h 239"/>
                <a:gd name="T6" fmla="*/ 28 w 188"/>
                <a:gd name="T7" fmla="*/ 161 h 239"/>
                <a:gd name="T8" fmla="*/ 66 w 188"/>
                <a:gd name="T9" fmla="*/ 182 h 239"/>
                <a:gd name="T10" fmla="*/ 101 w 188"/>
                <a:gd name="T11" fmla="*/ 189 h 239"/>
                <a:gd name="T12" fmla="*/ 122 w 188"/>
                <a:gd name="T13" fmla="*/ 184 h 239"/>
                <a:gd name="T14" fmla="*/ 129 w 188"/>
                <a:gd name="T15" fmla="*/ 171 h 239"/>
                <a:gd name="T16" fmla="*/ 129 w 188"/>
                <a:gd name="T17" fmla="*/ 170 h 239"/>
                <a:gd name="T18" fmla="*/ 125 w 188"/>
                <a:gd name="T19" fmla="*/ 161 h 239"/>
                <a:gd name="T20" fmla="*/ 114 w 188"/>
                <a:gd name="T21" fmla="*/ 155 h 239"/>
                <a:gd name="T22" fmla="*/ 99 w 188"/>
                <a:gd name="T23" fmla="*/ 149 h 239"/>
                <a:gd name="T24" fmla="*/ 81 w 188"/>
                <a:gd name="T25" fmla="*/ 144 h 239"/>
                <a:gd name="T26" fmla="*/ 57 w 188"/>
                <a:gd name="T27" fmla="*/ 135 h 239"/>
                <a:gd name="T28" fmla="*/ 35 w 188"/>
                <a:gd name="T29" fmla="*/ 122 h 239"/>
                <a:gd name="T30" fmla="*/ 18 w 188"/>
                <a:gd name="T31" fmla="*/ 103 h 239"/>
                <a:gd name="T32" fmla="*/ 12 w 188"/>
                <a:gd name="T33" fmla="*/ 74 h 239"/>
                <a:gd name="T34" fmla="*/ 12 w 188"/>
                <a:gd name="T35" fmla="*/ 73 h 239"/>
                <a:gd name="T36" fmla="*/ 19 w 188"/>
                <a:gd name="T37" fmla="*/ 42 h 239"/>
                <a:gd name="T38" fmla="*/ 37 w 188"/>
                <a:gd name="T39" fmla="*/ 19 h 239"/>
                <a:gd name="T40" fmla="*/ 64 w 188"/>
                <a:gd name="T41" fmla="*/ 5 h 239"/>
                <a:gd name="T42" fmla="*/ 97 w 188"/>
                <a:gd name="T43" fmla="*/ 0 h 239"/>
                <a:gd name="T44" fmla="*/ 141 w 188"/>
                <a:gd name="T45" fmla="*/ 7 h 239"/>
                <a:gd name="T46" fmla="*/ 183 w 188"/>
                <a:gd name="T47" fmla="*/ 27 h 239"/>
                <a:gd name="T48" fmla="*/ 158 w 188"/>
                <a:gd name="T49" fmla="*/ 72 h 239"/>
                <a:gd name="T50" fmla="*/ 124 w 188"/>
                <a:gd name="T51" fmla="*/ 56 h 239"/>
                <a:gd name="T52" fmla="*/ 95 w 188"/>
                <a:gd name="T53" fmla="*/ 51 h 239"/>
                <a:gd name="T54" fmla="*/ 77 w 188"/>
                <a:gd name="T55" fmla="*/ 55 h 239"/>
                <a:gd name="T56" fmla="*/ 71 w 188"/>
                <a:gd name="T57" fmla="*/ 67 h 239"/>
                <a:gd name="T58" fmla="*/ 71 w 188"/>
                <a:gd name="T59" fmla="*/ 67 h 239"/>
                <a:gd name="T60" fmla="*/ 75 w 188"/>
                <a:gd name="T61" fmla="*/ 76 h 239"/>
                <a:gd name="T62" fmla="*/ 85 w 188"/>
                <a:gd name="T63" fmla="*/ 83 h 239"/>
                <a:gd name="T64" fmla="*/ 100 w 188"/>
                <a:gd name="T65" fmla="*/ 89 h 239"/>
                <a:gd name="T66" fmla="*/ 118 w 188"/>
                <a:gd name="T67" fmla="*/ 95 h 239"/>
                <a:gd name="T68" fmla="*/ 143 w 188"/>
                <a:gd name="T69" fmla="*/ 104 h 239"/>
                <a:gd name="T70" fmla="*/ 165 w 188"/>
                <a:gd name="T71" fmla="*/ 117 h 239"/>
                <a:gd name="T72" fmla="*/ 181 w 188"/>
                <a:gd name="T73" fmla="*/ 136 h 239"/>
                <a:gd name="T74" fmla="*/ 188 w 188"/>
                <a:gd name="T75" fmla="*/ 164 h 239"/>
                <a:gd name="T76" fmla="*/ 188 w 188"/>
                <a:gd name="T77" fmla="*/ 164 h 239"/>
                <a:gd name="T78" fmla="*/ 181 w 188"/>
                <a:gd name="T79" fmla="*/ 198 h 239"/>
                <a:gd name="T80" fmla="*/ 162 w 188"/>
                <a:gd name="T81" fmla="*/ 221 h 239"/>
                <a:gd name="T82" fmla="*/ 134 w 188"/>
                <a:gd name="T83" fmla="*/ 234 h 239"/>
                <a:gd name="T84" fmla="*/ 100 w 188"/>
                <a:gd name="T85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8" h="239">
                  <a:moveTo>
                    <a:pt x="100" y="239"/>
                  </a:moveTo>
                  <a:cubicBezTo>
                    <a:pt x="83" y="239"/>
                    <a:pt x="66" y="236"/>
                    <a:pt x="49" y="231"/>
                  </a:cubicBezTo>
                  <a:cubicBezTo>
                    <a:pt x="32" y="225"/>
                    <a:pt x="16" y="216"/>
                    <a:pt x="0" y="204"/>
                  </a:cubicBezTo>
                  <a:lnTo>
                    <a:pt x="28" y="161"/>
                  </a:lnTo>
                  <a:cubicBezTo>
                    <a:pt x="41" y="170"/>
                    <a:pt x="54" y="177"/>
                    <a:pt x="66" y="182"/>
                  </a:cubicBezTo>
                  <a:cubicBezTo>
                    <a:pt x="79" y="186"/>
                    <a:pt x="90" y="189"/>
                    <a:pt x="101" y="189"/>
                  </a:cubicBezTo>
                  <a:cubicBezTo>
                    <a:pt x="111" y="189"/>
                    <a:pt x="118" y="187"/>
                    <a:pt x="122" y="184"/>
                  </a:cubicBezTo>
                  <a:cubicBezTo>
                    <a:pt x="127" y="181"/>
                    <a:pt x="129" y="176"/>
                    <a:pt x="129" y="171"/>
                  </a:cubicBezTo>
                  <a:lnTo>
                    <a:pt x="129" y="170"/>
                  </a:lnTo>
                  <a:cubicBezTo>
                    <a:pt x="129" y="167"/>
                    <a:pt x="128" y="164"/>
                    <a:pt x="125" y="161"/>
                  </a:cubicBezTo>
                  <a:cubicBezTo>
                    <a:pt x="122" y="159"/>
                    <a:pt x="119" y="157"/>
                    <a:pt x="114" y="155"/>
                  </a:cubicBezTo>
                  <a:cubicBezTo>
                    <a:pt x="110" y="153"/>
                    <a:pt x="105" y="151"/>
                    <a:pt x="99" y="149"/>
                  </a:cubicBezTo>
                  <a:cubicBezTo>
                    <a:pt x="93" y="148"/>
                    <a:pt x="87" y="146"/>
                    <a:pt x="81" y="144"/>
                  </a:cubicBezTo>
                  <a:cubicBezTo>
                    <a:pt x="73" y="141"/>
                    <a:pt x="65" y="139"/>
                    <a:pt x="57" y="135"/>
                  </a:cubicBezTo>
                  <a:cubicBezTo>
                    <a:pt x="48" y="132"/>
                    <a:pt x="41" y="128"/>
                    <a:pt x="35" y="122"/>
                  </a:cubicBezTo>
                  <a:cubicBezTo>
                    <a:pt x="28" y="117"/>
                    <a:pt x="22" y="111"/>
                    <a:pt x="18" y="103"/>
                  </a:cubicBezTo>
                  <a:cubicBezTo>
                    <a:pt x="14" y="95"/>
                    <a:pt x="12" y="86"/>
                    <a:pt x="12" y="74"/>
                  </a:cubicBezTo>
                  <a:lnTo>
                    <a:pt x="12" y="73"/>
                  </a:lnTo>
                  <a:cubicBezTo>
                    <a:pt x="12" y="62"/>
                    <a:pt x="14" y="51"/>
                    <a:pt x="19" y="42"/>
                  </a:cubicBezTo>
                  <a:cubicBezTo>
                    <a:pt x="23" y="33"/>
                    <a:pt x="29" y="26"/>
                    <a:pt x="37" y="19"/>
                  </a:cubicBezTo>
                  <a:cubicBezTo>
                    <a:pt x="44" y="13"/>
                    <a:pt x="53" y="8"/>
                    <a:pt x="64" y="5"/>
                  </a:cubicBezTo>
                  <a:cubicBezTo>
                    <a:pt x="74" y="2"/>
                    <a:pt x="85" y="0"/>
                    <a:pt x="97" y="0"/>
                  </a:cubicBezTo>
                  <a:cubicBezTo>
                    <a:pt x="111" y="0"/>
                    <a:pt x="126" y="3"/>
                    <a:pt x="141" y="7"/>
                  </a:cubicBezTo>
                  <a:cubicBezTo>
                    <a:pt x="156" y="12"/>
                    <a:pt x="170" y="19"/>
                    <a:pt x="183" y="27"/>
                  </a:cubicBezTo>
                  <a:lnTo>
                    <a:pt x="158" y="72"/>
                  </a:lnTo>
                  <a:cubicBezTo>
                    <a:pt x="146" y="66"/>
                    <a:pt x="135" y="60"/>
                    <a:pt x="124" y="56"/>
                  </a:cubicBezTo>
                  <a:cubicBezTo>
                    <a:pt x="113" y="53"/>
                    <a:pt x="104" y="51"/>
                    <a:pt x="95" y="51"/>
                  </a:cubicBezTo>
                  <a:cubicBezTo>
                    <a:pt x="87" y="51"/>
                    <a:pt x="81" y="52"/>
                    <a:pt x="77" y="55"/>
                  </a:cubicBezTo>
                  <a:cubicBezTo>
                    <a:pt x="73" y="58"/>
                    <a:pt x="71" y="62"/>
                    <a:pt x="71" y="67"/>
                  </a:cubicBezTo>
                  <a:lnTo>
                    <a:pt x="71" y="67"/>
                  </a:lnTo>
                  <a:cubicBezTo>
                    <a:pt x="71" y="71"/>
                    <a:pt x="72" y="73"/>
                    <a:pt x="75" y="76"/>
                  </a:cubicBezTo>
                  <a:cubicBezTo>
                    <a:pt x="78" y="78"/>
                    <a:pt x="81" y="81"/>
                    <a:pt x="85" y="83"/>
                  </a:cubicBezTo>
                  <a:cubicBezTo>
                    <a:pt x="90" y="85"/>
                    <a:pt x="95" y="87"/>
                    <a:pt x="100" y="89"/>
                  </a:cubicBezTo>
                  <a:cubicBezTo>
                    <a:pt x="106" y="91"/>
                    <a:pt x="112" y="93"/>
                    <a:pt x="118" y="95"/>
                  </a:cubicBezTo>
                  <a:cubicBezTo>
                    <a:pt x="126" y="98"/>
                    <a:pt x="134" y="101"/>
                    <a:pt x="143" y="104"/>
                  </a:cubicBezTo>
                  <a:cubicBezTo>
                    <a:pt x="151" y="108"/>
                    <a:pt x="158" y="112"/>
                    <a:pt x="165" y="117"/>
                  </a:cubicBezTo>
                  <a:cubicBezTo>
                    <a:pt x="172" y="123"/>
                    <a:pt x="177" y="129"/>
                    <a:pt x="181" y="136"/>
                  </a:cubicBezTo>
                  <a:cubicBezTo>
                    <a:pt x="186" y="144"/>
                    <a:pt x="188" y="153"/>
                    <a:pt x="188" y="164"/>
                  </a:cubicBezTo>
                  <a:lnTo>
                    <a:pt x="188" y="164"/>
                  </a:lnTo>
                  <a:cubicBezTo>
                    <a:pt x="188" y="177"/>
                    <a:pt x="186" y="188"/>
                    <a:pt x="181" y="198"/>
                  </a:cubicBezTo>
                  <a:cubicBezTo>
                    <a:pt x="177" y="207"/>
                    <a:pt x="170" y="215"/>
                    <a:pt x="162" y="221"/>
                  </a:cubicBezTo>
                  <a:cubicBezTo>
                    <a:pt x="154" y="227"/>
                    <a:pt x="145" y="231"/>
                    <a:pt x="134" y="234"/>
                  </a:cubicBezTo>
                  <a:cubicBezTo>
                    <a:pt x="123" y="237"/>
                    <a:pt x="112" y="239"/>
                    <a:pt x="100" y="239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3" name="Freeform 49">
              <a:extLst>
                <a:ext uri="{FF2B5EF4-FFF2-40B4-BE49-F238E27FC236}">
                  <a16:creationId xmlns:a16="http://schemas.microsoft.com/office/drawing/2014/main" id="{0254ECCC-CD21-1949-1D27-68A32A9DC8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5" y="468"/>
              <a:ext cx="9" cy="40"/>
            </a:xfrm>
            <a:custGeom>
              <a:avLst/>
              <a:gdLst>
                <a:gd name="T0" fmla="*/ 2 w 69"/>
                <a:gd name="T1" fmla="*/ 84 h 315"/>
                <a:gd name="T2" fmla="*/ 67 w 69"/>
                <a:gd name="T3" fmla="*/ 84 h 315"/>
                <a:gd name="T4" fmla="*/ 67 w 69"/>
                <a:gd name="T5" fmla="*/ 315 h 315"/>
                <a:gd name="T6" fmla="*/ 2 w 69"/>
                <a:gd name="T7" fmla="*/ 315 h 315"/>
                <a:gd name="T8" fmla="*/ 2 w 69"/>
                <a:gd name="T9" fmla="*/ 84 h 315"/>
                <a:gd name="T10" fmla="*/ 0 w 69"/>
                <a:gd name="T11" fmla="*/ 0 h 315"/>
                <a:gd name="T12" fmla="*/ 69 w 69"/>
                <a:gd name="T13" fmla="*/ 0 h 315"/>
                <a:gd name="T14" fmla="*/ 69 w 69"/>
                <a:gd name="T15" fmla="*/ 58 h 315"/>
                <a:gd name="T16" fmla="*/ 0 w 69"/>
                <a:gd name="T17" fmla="*/ 58 h 315"/>
                <a:gd name="T18" fmla="*/ 0 w 69"/>
                <a:gd name="T1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315">
                  <a:moveTo>
                    <a:pt x="2" y="84"/>
                  </a:moveTo>
                  <a:lnTo>
                    <a:pt x="67" y="84"/>
                  </a:lnTo>
                  <a:lnTo>
                    <a:pt x="67" y="315"/>
                  </a:lnTo>
                  <a:lnTo>
                    <a:pt x="2" y="315"/>
                  </a:lnTo>
                  <a:lnTo>
                    <a:pt x="2" y="84"/>
                  </a:lnTo>
                  <a:close/>
                  <a:moveTo>
                    <a:pt x="0" y="0"/>
                  </a:moveTo>
                  <a:lnTo>
                    <a:pt x="69" y="0"/>
                  </a:lnTo>
                  <a:lnTo>
                    <a:pt x="69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4" name="Rectangle 50">
              <a:extLst>
                <a:ext uri="{FF2B5EF4-FFF2-40B4-BE49-F238E27FC236}">
                  <a16:creationId xmlns:a16="http://schemas.microsoft.com/office/drawing/2014/main" id="{8E9ED6A4-6906-6586-6E97-B69C39474F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1" y="468"/>
              <a:ext cx="8" cy="40"/>
            </a:xfrm>
            <a:prstGeom prst="rect">
              <a:avLst/>
            </a:pr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5" name="Freeform 51">
              <a:extLst>
                <a:ext uri="{FF2B5EF4-FFF2-40B4-BE49-F238E27FC236}">
                  <a16:creationId xmlns:a16="http://schemas.microsoft.com/office/drawing/2014/main" id="{282D948E-D0EB-305A-84DC-BE5C138E07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7" y="468"/>
              <a:ext cx="9" cy="40"/>
            </a:xfrm>
            <a:custGeom>
              <a:avLst/>
              <a:gdLst>
                <a:gd name="T0" fmla="*/ 2 w 69"/>
                <a:gd name="T1" fmla="*/ 84 h 315"/>
                <a:gd name="T2" fmla="*/ 68 w 69"/>
                <a:gd name="T3" fmla="*/ 84 h 315"/>
                <a:gd name="T4" fmla="*/ 68 w 69"/>
                <a:gd name="T5" fmla="*/ 315 h 315"/>
                <a:gd name="T6" fmla="*/ 2 w 69"/>
                <a:gd name="T7" fmla="*/ 315 h 315"/>
                <a:gd name="T8" fmla="*/ 2 w 69"/>
                <a:gd name="T9" fmla="*/ 84 h 315"/>
                <a:gd name="T10" fmla="*/ 0 w 69"/>
                <a:gd name="T11" fmla="*/ 0 h 315"/>
                <a:gd name="T12" fmla="*/ 69 w 69"/>
                <a:gd name="T13" fmla="*/ 0 h 315"/>
                <a:gd name="T14" fmla="*/ 69 w 69"/>
                <a:gd name="T15" fmla="*/ 58 h 315"/>
                <a:gd name="T16" fmla="*/ 0 w 69"/>
                <a:gd name="T17" fmla="*/ 58 h 315"/>
                <a:gd name="T18" fmla="*/ 0 w 69"/>
                <a:gd name="T1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315">
                  <a:moveTo>
                    <a:pt x="2" y="84"/>
                  </a:moveTo>
                  <a:lnTo>
                    <a:pt x="68" y="84"/>
                  </a:lnTo>
                  <a:lnTo>
                    <a:pt x="68" y="315"/>
                  </a:lnTo>
                  <a:lnTo>
                    <a:pt x="2" y="315"/>
                  </a:lnTo>
                  <a:lnTo>
                    <a:pt x="2" y="84"/>
                  </a:lnTo>
                  <a:close/>
                  <a:moveTo>
                    <a:pt x="0" y="0"/>
                  </a:moveTo>
                  <a:lnTo>
                    <a:pt x="69" y="0"/>
                  </a:lnTo>
                  <a:lnTo>
                    <a:pt x="69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127CE945-E1BA-E53A-497D-113C5224B1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2" y="478"/>
              <a:ext cx="28" cy="30"/>
            </a:xfrm>
            <a:custGeom>
              <a:avLst/>
              <a:gdLst>
                <a:gd name="T0" fmla="*/ 163 w 227"/>
                <a:gd name="T1" fmla="*/ 102 h 241"/>
                <a:gd name="T2" fmla="*/ 147 w 227"/>
                <a:gd name="T3" fmla="*/ 67 h 241"/>
                <a:gd name="T4" fmla="*/ 114 w 227"/>
                <a:gd name="T5" fmla="*/ 53 h 241"/>
                <a:gd name="T6" fmla="*/ 81 w 227"/>
                <a:gd name="T7" fmla="*/ 66 h 241"/>
                <a:gd name="T8" fmla="*/ 64 w 227"/>
                <a:gd name="T9" fmla="*/ 102 h 241"/>
                <a:gd name="T10" fmla="*/ 163 w 227"/>
                <a:gd name="T11" fmla="*/ 102 h 241"/>
                <a:gd name="T12" fmla="*/ 121 w 227"/>
                <a:gd name="T13" fmla="*/ 241 h 241"/>
                <a:gd name="T14" fmla="*/ 73 w 227"/>
                <a:gd name="T15" fmla="*/ 232 h 241"/>
                <a:gd name="T16" fmla="*/ 34 w 227"/>
                <a:gd name="T17" fmla="*/ 208 h 241"/>
                <a:gd name="T18" fmla="*/ 9 w 227"/>
                <a:gd name="T19" fmla="*/ 170 h 241"/>
                <a:gd name="T20" fmla="*/ 0 w 227"/>
                <a:gd name="T21" fmla="*/ 121 h 241"/>
                <a:gd name="T22" fmla="*/ 0 w 227"/>
                <a:gd name="T23" fmla="*/ 121 h 241"/>
                <a:gd name="T24" fmla="*/ 8 w 227"/>
                <a:gd name="T25" fmla="*/ 74 h 241"/>
                <a:gd name="T26" fmla="*/ 32 w 227"/>
                <a:gd name="T27" fmla="*/ 36 h 241"/>
                <a:gd name="T28" fmla="*/ 68 w 227"/>
                <a:gd name="T29" fmla="*/ 10 h 241"/>
                <a:gd name="T30" fmla="*/ 114 w 227"/>
                <a:gd name="T31" fmla="*/ 0 h 241"/>
                <a:gd name="T32" fmla="*/ 164 w 227"/>
                <a:gd name="T33" fmla="*/ 11 h 241"/>
                <a:gd name="T34" fmla="*/ 199 w 227"/>
                <a:gd name="T35" fmla="*/ 39 h 241"/>
                <a:gd name="T36" fmla="*/ 220 w 227"/>
                <a:gd name="T37" fmla="*/ 79 h 241"/>
                <a:gd name="T38" fmla="*/ 227 w 227"/>
                <a:gd name="T39" fmla="*/ 126 h 241"/>
                <a:gd name="T40" fmla="*/ 226 w 227"/>
                <a:gd name="T41" fmla="*/ 134 h 241"/>
                <a:gd name="T42" fmla="*/ 226 w 227"/>
                <a:gd name="T43" fmla="*/ 143 h 241"/>
                <a:gd name="T44" fmla="*/ 65 w 227"/>
                <a:gd name="T45" fmla="*/ 143 h 241"/>
                <a:gd name="T46" fmla="*/ 85 w 227"/>
                <a:gd name="T47" fmla="*/ 177 h 241"/>
                <a:gd name="T48" fmla="*/ 121 w 227"/>
                <a:gd name="T49" fmla="*/ 188 h 241"/>
                <a:gd name="T50" fmla="*/ 151 w 227"/>
                <a:gd name="T51" fmla="*/ 183 h 241"/>
                <a:gd name="T52" fmla="*/ 177 w 227"/>
                <a:gd name="T53" fmla="*/ 165 h 241"/>
                <a:gd name="T54" fmla="*/ 215 w 227"/>
                <a:gd name="T55" fmla="*/ 198 h 241"/>
                <a:gd name="T56" fmla="*/ 175 w 227"/>
                <a:gd name="T57" fmla="*/ 229 h 241"/>
                <a:gd name="T58" fmla="*/ 121 w 227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7" h="241">
                  <a:moveTo>
                    <a:pt x="163" y="102"/>
                  </a:moveTo>
                  <a:cubicBezTo>
                    <a:pt x="161" y="87"/>
                    <a:pt x="156" y="76"/>
                    <a:pt x="147" y="67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0" y="53"/>
                    <a:pt x="89" y="57"/>
                    <a:pt x="81" y="66"/>
                  </a:cubicBezTo>
                  <a:cubicBezTo>
                    <a:pt x="72" y="75"/>
                    <a:pt x="67" y="87"/>
                    <a:pt x="64" y="102"/>
                  </a:cubicBezTo>
                  <a:lnTo>
                    <a:pt x="163" y="102"/>
                  </a:lnTo>
                  <a:close/>
                  <a:moveTo>
                    <a:pt x="121" y="241"/>
                  </a:moveTo>
                  <a:cubicBezTo>
                    <a:pt x="103" y="241"/>
                    <a:pt x="87" y="238"/>
                    <a:pt x="73" y="232"/>
                  </a:cubicBezTo>
                  <a:cubicBezTo>
                    <a:pt x="58" y="226"/>
                    <a:pt x="45" y="218"/>
                    <a:pt x="34" y="208"/>
                  </a:cubicBezTo>
                  <a:cubicBezTo>
                    <a:pt x="23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8" y="74"/>
                  </a:cubicBezTo>
                  <a:cubicBezTo>
                    <a:pt x="14" y="59"/>
                    <a:pt x="22" y="47"/>
                    <a:pt x="32" y="36"/>
                  </a:cubicBezTo>
                  <a:cubicBezTo>
                    <a:pt x="42" y="25"/>
                    <a:pt x="54" y="16"/>
                    <a:pt x="68" y="10"/>
                  </a:cubicBezTo>
                  <a:cubicBezTo>
                    <a:pt x="82" y="4"/>
                    <a:pt x="97" y="0"/>
                    <a:pt x="114" y="0"/>
                  </a:cubicBezTo>
                  <a:cubicBezTo>
                    <a:pt x="133" y="0"/>
                    <a:pt x="150" y="4"/>
                    <a:pt x="164" y="11"/>
                  </a:cubicBezTo>
                  <a:cubicBezTo>
                    <a:pt x="178" y="18"/>
                    <a:pt x="190" y="27"/>
                    <a:pt x="199" y="39"/>
                  </a:cubicBezTo>
                  <a:cubicBezTo>
                    <a:pt x="209" y="50"/>
                    <a:pt x="215" y="64"/>
                    <a:pt x="220" y="79"/>
                  </a:cubicBezTo>
                  <a:cubicBezTo>
                    <a:pt x="224" y="94"/>
                    <a:pt x="227" y="109"/>
                    <a:pt x="227" y="126"/>
                  </a:cubicBezTo>
                  <a:cubicBezTo>
                    <a:pt x="227" y="128"/>
                    <a:pt x="226" y="131"/>
                    <a:pt x="226" y="134"/>
                  </a:cubicBezTo>
                  <a:cubicBezTo>
                    <a:pt x="226" y="137"/>
                    <a:pt x="226" y="140"/>
                    <a:pt x="226" y="143"/>
                  </a:cubicBezTo>
                  <a:lnTo>
                    <a:pt x="65" y="143"/>
                  </a:lnTo>
                  <a:cubicBezTo>
                    <a:pt x="68" y="158"/>
                    <a:pt x="75" y="169"/>
                    <a:pt x="85" y="177"/>
                  </a:cubicBezTo>
                  <a:cubicBezTo>
                    <a:pt x="94" y="184"/>
                    <a:pt x="107" y="188"/>
                    <a:pt x="121" y="188"/>
                  </a:cubicBezTo>
                  <a:cubicBezTo>
                    <a:pt x="132" y="188"/>
                    <a:pt x="142" y="186"/>
                    <a:pt x="151" y="183"/>
                  </a:cubicBezTo>
                  <a:cubicBezTo>
                    <a:pt x="159" y="179"/>
                    <a:pt x="168" y="173"/>
                    <a:pt x="177" y="165"/>
                  </a:cubicBezTo>
                  <a:lnTo>
                    <a:pt x="215" y="198"/>
                  </a:lnTo>
                  <a:cubicBezTo>
                    <a:pt x="204" y="211"/>
                    <a:pt x="191" y="222"/>
                    <a:pt x="175" y="229"/>
                  </a:cubicBezTo>
                  <a:cubicBezTo>
                    <a:pt x="160" y="237"/>
                    <a:pt x="142" y="241"/>
                    <a:pt x="121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7" name="Freeform 53">
              <a:extLst>
                <a:ext uri="{FF2B5EF4-FFF2-40B4-BE49-F238E27FC236}">
                  <a16:creationId xmlns:a16="http://schemas.microsoft.com/office/drawing/2014/main" id="{7B56FA18-EC06-07BA-CDE4-24055D78C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" y="478"/>
              <a:ext cx="26" cy="30"/>
            </a:xfrm>
            <a:custGeom>
              <a:avLst/>
              <a:gdLst>
                <a:gd name="T0" fmla="*/ 0 w 212"/>
                <a:gd name="T1" fmla="*/ 5 h 236"/>
                <a:gd name="T2" fmla="*/ 66 w 212"/>
                <a:gd name="T3" fmla="*/ 5 h 236"/>
                <a:gd name="T4" fmla="*/ 66 w 212"/>
                <a:gd name="T5" fmla="*/ 38 h 236"/>
                <a:gd name="T6" fmla="*/ 78 w 212"/>
                <a:gd name="T7" fmla="*/ 24 h 236"/>
                <a:gd name="T8" fmla="*/ 93 w 212"/>
                <a:gd name="T9" fmla="*/ 12 h 236"/>
                <a:gd name="T10" fmla="*/ 111 w 212"/>
                <a:gd name="T11" fmla="*/ 3 h 236"/>
                <a:gd name="T12" fmla="*/ 133 w 212"/>
                <a:gd name="T13" fmla="*/ 0 h 236"/>
                <a:gd name="T14" fmla="*/ 191 w 212"/>
                <a:gd name="T15" fmla="*/ 23 h 236"/>
                <a:gd name="T16" fmla="*/ 212 w 212"/>
                <a:gd name="T17" fmla="*/ 86 h 236"/>
                <a:gd name="T18" fmla="*/ 212 w 212"/>
                <a:gd name="T19" fmla="*/ 236 h 236"/>
                <a:gd name="T20" fmla="*/ 146 w 212"/>
                <a:gd name="T21" fmla="*/ 236 h 236"/>
                <a:gd name="T22" fmla="*/ 146 w 212"/>
                <a:gd name="T23" fmla="*/ 107 h 236"/>
                <a:gd name="T24" fmla="*/ 136 w 212"/>
                <a:gd name="T25" fmla="*/ 72 h 236"/>
                <a:gd name="T26" fmla="*/ 107 w 212"/>
                <a:gd name="T27" fmla="*/ 60 h 236"/>
                <a:gd name="T28" fmla="*/ 77 w 212"/>
                <a:gd name="T29" fmla="*/ 72 h 236"/>
                <a:gd name="T30" fmla="*/ 66 w 212"/>
                <a:gd name="T31" fmla="*/ 107 h 236"/>
                <a:gd name="T32" fmla="*/ 66 w 212"/>
                <a:gd name="T33" fmla="*/ 236 h 236"/>
                <a:gd name="T34" fmla="*/ 0 w 212"/>
                <a:gd name="T35" fmla="*/ 236 h 236"/>
                <a:gd name="T36" fmla="*/ 0 w 212"/>
                <a:gd name="T37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2" h="236">
                  <a:moveTo>
                    <a:pt x="0" y="5"/>
                  </a:moveTo>
                  <a:lnTo>
                    <a:pt x="66" y="5"/>
                  </a:lnTo>
                  <a:lnTo>
                    <a:pt x="66" y="38"/>
                  </a:lnTo>
                  <a:cubicBezTo>
                    <a:pt x="69" y="33"/>
                    <a:pt x="74" y="28"/>
                    <a:pt x="78" y="24"/>
                  </a:cubicBezTo>
                  <a:cubicBezTo>
                    <a:pt x="82" y="19"/>
                    <a:pt x="87" y="15"/>
                    <a:pt x="93" y="12"/>
                  </a:cubicBezTo>
                  <a:cubicBezTo>
                    <a:pt x="98" y="8"/>
                    <a:pt x="104" y="5"/>
                    <a:pt x="111" y="3"/>
                  </a:cubicBezTo>
                  <a:cubicBezTo>
                    <a:pt x="118" y="1"/>
                    <a:pt x="125" y="0"/>
                    <a:pt x="133" y="0"/>
                  </a:cubicBezTo>
                  <a:cubicBezTo>
                    <a:pt x="158" y="0"/>
                    <a:pt x="178" y="8"/>
                    <a:pt x="191" y="23"/>
                  </a:cubicBezTo>
                  <a:cubicBezTo>
                    <a:pt x="205" y="38"/>
                    <a:pt x="212" y="59"/>
                    <a:pt x="212" y="86"/>
                  </a:cubicBezTo>
                  <a:lnTo>
                    <a:pt x="212" y="236"/>
                  </a:lnTo>
                  <a:lnTo>
                    <a:pt x="146" y="236"/>
                  </a:lnTo>
                  <a:lnTo>
                    <a:pt x="146" y="107"/>
                  </a:lnTo>
                  <a:cubicBezTo>
                    <a:pt x="146" y="92"/>
                    <a:pt x="143" y="80"/>
                    <a:pt x="136" y="72"/>
                  </a:cubicBezTo>
                  <a:cubicBezTo>
                    <a:pt x="129" y="64"/>
                    <a:pt x="119" y="60"/>
                    <a:pt x="107" y="60"/>
                  </a:cubicBezTo>
                  <a:cubicBezTo>
                    <a:pt x="94" y="60"/>
                    <a:pt x="84" y="64"/>
                    <a:pt x="77" y="72"/>
                  </a:cubicBezTo>
                  <a:cubicBezTo>
                    <a:pt x="69" y="80"/>
                    <a:pt x="66" y="92"/>
                    <a:pt x="66" y="107"/>
                  </a:cubicBezTo>
                  <a:lnTo>
                    <a:pt x="66" y="236"/>
                  </a:lnTo>
                  <a:lnTo>
                    <a:pt x="0" y="236"/>
                  </a:lnTo>
                  <a:lnTo>
                    <a:pt x="0" y="5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8" name="Freeform 54">
              <a:extLst>
                <a:ext uri="{FF2B5EF4-FFF2-40B4-BE49-F238E27FC236}">
                  <a16:creationId xmlns:a16="http://schemas.microsoft.com/office/drawing/2014/main" id="{55655C7B-FC0C-C925-9DC6-1F3B80957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8" y="478"/>
              <a:ext cx="26" cy="30"/>
            </a:xfrm>
            <a:custGeom>
              <a:avLst/>
              <a:gdLst>
                <a:gd name="T0" fmla="*/ 121 w 215"/>
                <a:gd name="T1" fmla="*/ 241 h 241"/>
                <a:gd name="T2" fmla="*/ 73 w 215"/>
                <a:gd name="T3" fmla="*/ 231 h 241"/>
                <a:gd name="T4" fmla="*/ 34 w 215"/>
                <a:gd name="T5" fmla="*/ 206 h 241"/>
                <a:gd name="T6" fmla="*/ 9 w 215"/>
                <a:gd name="T7" fmla="*/ 168 h 241"/>
                <a:gd name="T8" fmla="*/ 0 w 215"/>
                <a:gd name="T9" fmla="*/ 121 h 241"/>
                <a:gd name="T10" fmla="*/ 0 w 215"/>
                <a:gd name="T11" fmla="*/ 121 h 241"/>
                <a:gd name="T12" fmla="*/ 9 w 215"/>
                <a:gd name="T13" fmla="*/ 74 h 241"/>
                <a:gd name="T14" fmla="*/ 34 w 215"/>
                <a:gd name="T15" fmla="*/ 36 h 241"/>
                <a:gd name="T16" fmla="*/ 73 w 215"/>
                <a:gd name="T17" fmla="*/ 10 h 241"/>
                <a:gd name="T18" fmla="*/ 121 w 215"/>
                <a:gd name="T19" fmla="*/ 0 h 241"/>
                <a:gd name="T20" fmla="*/ 176 w 215"/>
                <a:gd name="T21" fmla="*/ 11 h 241"/>
                <a:gd name="T22" fmla="*/ 214 w 215"/>
                <a:gd name="T23" fmla="*/ 39 h 241"/>
                <a:gd name="T24" fmla="*/ 174 w 215"/>
                <a:gd name="T25" fmla="*/ 82 h 241"/>
                <a:gd name="T26" fmla="*/ 151 w 215"/>
                <a:gd name="T27" fmla="*/ 64 h 241"/>
                <a:gd name="T28" fmla="*/ 121 w 215"/>
                <a:gd name="T29" fmla="*/ 57 h 241"/>
                <a:gd name="T30" fmla="*/ 98 w 215"/>
                <a:gd name="T31" fmla="*/ 62 h 241"/>
                <a:gd name="T32" fmla="*/ 81 w 215"/>
                <a:gd name="T33" fmla="*/ 75 h 241"/>
                <a:gd name="T34" fmla="*/ 69 w 215"/>
                <a:gd name="T35" fmla="*/ 95 h 241"/>
                <a:gd name="T36" fmla="*/ 65 w 215"/>
                <a:gd name="T37" fmla="*/ 120 h 241"/>
                <a:gd name="T38" fmla="*/ 65 w 215"/>
                <a:gd name="T39" fmla="*/ 121 h 241"/>
                <a:gd name="T40" fmla="*/ 69 w 215"/>
                <a:gd name="T41" fmla="*/ 146 h 241"/>
                <a:gd name="T42" fmla="*/ 81 w 215"/>
                <a:gd name="T43" fmla="*/ 166 h 241"/>
                <a:gd name="T44" fmla="*/ 99 w 215"/>
                <a:gd name="T45" fmla="*/ 179 h 241"/>
                <a:gd name="T46" fmla="*/ 124 w 215"/>
                <a:gd name="T47" fmla="*/ 184 h 241"/>
                <a:gd name="T48" fmla="*/ 152 w 215"/>
                <a:gd name="T49" fmla="*/ 178 h 241"/>
                <a:gd name="T50" fmla="*/ 177 w 215"/>
                <a:gd name="T51" fmla="*/ 160 h 241"/>
                <a:gd name="T52" fmla="*/ 215 w 215"/>
                <a:gd name="T53" fmla="*/ 199 h 241"/>
                <a:gd name="T54" fmla="*/ 177 w 215"/>
                <a:gd name="T55" fmla="*/ 229 h 241"/>
                <a:gd name="T56" fmla="*/ 121 w 215"/>
                <a:gd name="T5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5" h="241">
                  <a:moveTo>
                    <a:pt x="121" y="241"/>
                  </a:moveTo>
                  <a:cubicBezTo>
                    <a:pt x="103" y="241"/>
                    <a:pt x="87" y="238"/>
                    <a:pt x="73" y="231"/>
                  </a:cubicBezTo>
                  <a:cubicBezTo>
                    <a:pt x="58" y="225"/>
                    <a:pt x="45" y="216"/>
                    <a:pt x="34" y="206"/>
                  </a:cubicBezTo>
                  <a:cubicBezTo>
                    <a:pt x="24" y="195"/>
                    <a:pt x="15" y="182"/>
                    <a:pt x="9" y="168"/>
                  </a:cubicBezTo>
                  <a:cubicBezTo>
                    <a:pt x="3" y="153"/>
                    <a:pt x="0" y="138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9" y="74"/>
                  </a:cubicBezTo>
                  <a:cubicBezTo>
                    <a:pt x="15" y="59"/>
                    <a:pt x="24" y="47"/>
                    <a:pt x="34" y="36"/>
                  </a:cubicBezTo>
                  <a:cubicBezTo>
                    <a:pt x="45" y="25"/>
                    <a:pt x="58" y="16"/>
                    <a:pt x="73" y="10"/>
                  </a:cubicBezTo>
                  <a:cubicBezTo>
                    <a:pt x="87" y="4"/>
                    <a:pt x="104" y="0"/>
                    <a:pt x="121" y="0"/>
                  </a:cubicBezTo>
                  <a:cubicBezTo>
                    <a:pt x="143" y="0"/>
                    <a:pt x="161" y="4"/>
                    <a:pt x="176" y="11"/>
                  </a:cubicBezTo>
                  <a:cubicBezTo>
                    <a:pt x="190" y="18"/>
                    <a:pt x="203" y="27"/>
                    <a:pt x="214" y="39"/>
                  </a:cubicBezTo>
                  <a:lnTo>
                    <a:pt x="174" y="82"/>
                  </a:lnTo>
                  <a:cubicBezTo>
                    <a:pt x="166" y="74"/>
                    <a:pt x="158" y="68"/>
                    <a:pt x="151" y="64"/>
                  </a:cubicBezTo>
                  <a:cubicBezTo>
                    <a:pt x="143" y="59"/>
                    <a:pt x="133" y="57"/>
                    <a:pt x="121" y="57"/>
                  </a:cubicBezTo>
                  <a:cubicBezTo>
                    <a:pt x="113" y="57"/>
                    <a:pt x="105" y="58"/>
                    <a:pt x="98" y="62"/>
                  </a:cubicBezTo>
                  <a:cubicBezTo>
                    <a:pt x="92" y="65"/>
                    <a:pt x="86" y="70"/>
                    <a:pt x="81" y="75"/>
                  </a:cubicBezTo>
                  <a:cubicBezTo>
                    <a:pt x="76" y="81"/>
                    <a:pt x="72" y="88"/>
                    <a:pt x="69" y="95"/>
                  </a:cubicBezTo>
                  <a:cubicBezTo>
                    <a:pt x="66" y="103"/>
                    <a:pt x="65" y="111"/>
                    <a:pt x="65" y="120"/>
                  </a:cubicBezTo>
                  <a:lnTo>
                    <a:pt x="65" y="121"/>
                  </a:lnTo>
                  <a:cubicBezTo>
                    <a:pt x="65" y="129"/>
                    <a:pt x="66" y="138"/>
                    <a:pt x="69" y="146"/>
                  </a:cubicBezTo>
                  <a:cubicBezTo>
                    <a:pt x="72" y="153"/>
                    <a:pt x="76" y="160"/>
                    <a:pt x="81" y="166"/>
                  </a:cubicBezTo>
                  <a:cubicBezTo>
                    <a:pt x="86" y="172"/>
                    <a:pt x="92" y="176"/>
                    <a:pt x="99" y="179"/>
                  </a:cubicBezTo>
                  <a:cubicBezTo>
                    <a:pt x="107" y="183"/>
                    <a:pt x="115" y="184"/>
                    <a:pt x="124" y="184"/>
                  </a:cubicBezTo>
                  <a:cubicBezTo>
                    <a:pt x="135" y="184"/>
                    <a:pt x="144" y="182"/>
                    <a:pt x="152" y="178"/>
                  </a:cubicBezTo>
                  <a:cubicBezTo>
                    <a:pt x="160" y="173"/>
                    <a:pt x="169" y="167"/>
                    <a:pt x="177" y="160"/>
                  </a:cubicBezTo>
                  <a:lnTo>
                    <a:pt x="215" y="199"/>
                  </a:lnTo>
                  <a:cubicBezTo>
                    <a:pt x="204" y="211"/>
                    <a:pt x="191" y="221"/>
                    <a:pt x="177" y="229"/>
                  </a:cubicBezTo>
                  <a:cubicBezTo>
                    <a:pt x="162" y="237"/>
                    <a:pt x="144" y="241"/>
                    <a:pt x="121" y="241"/>
                  </a:cubicBez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D17B74B8-7129-2F12-0426-706B73732B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0" y="468"/>
              <a:ext cx="8" cy="40"/>
            </a:xfrm>
            <a:custGeom>
              <a:avLst/>
              <a:gdLst>
                <a:gd name="T0" fmla="*/ 2 w 69"/>
                <a:gd name="T1" fmla="*/ 84 h 315"/>
                <a:gd name="T2" fmla="*/ 67 w 69"/>
                <a:gd name="T3" fmla="*/ 84 h 315"/>
                <a:gd name="T4" fmla="*/ 67 w 69"/>
                <a:gd name="T5" fmla="*/ 315 h 315"/>
                <a:gd name="T6" fmla="*/ 2 w 69"/>
                <a:gd name="T7" fmla="*/ 315 h 315"/>
                <a:gd name="T8" fmla="*/ 2 w 69"/>
                <a:gd name="T9" fmla="*/ 84 h 315"/>
                <a:gd name="T10" fmla="*/ 0 w 69"/>
                <a:gd name="T11" fmla="*/ 0 h 315"/>
                <a:gd name="T12" fmla="*/ 69 w 69"/>
                <a:gd name="T13" fmla="*/ 0 h 315"/>
                <a:gd name="T14" fmla="*/ 69 w 69"/>
                <a:gd name="T15" fmla="*/ 58 h 315"/>
                <a:gd name="T16" fmla="*/ 0 w 69"/>
                <a:gd name="T17" fmla="*/ 58 h 315"/>
                <a:gd name="T18" fmla="*/ 0 w 69"/>
                <a:gd name="T1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315">
                  <a:moveTo>
                    <a:pt x="2" y="84"/>
                  </a:moveTo>
                  <a:lnTo>
                    <a:pt x="67" y="84"/>
                  </a:lnTo>
                  <a:lnTo>
                    <a:pt x="67" y="315"/>
                  </a:lnTo>
                  <a:lnTo>
                    <a:pt x="2" y="315"/>
                  </a:lnTo>
                  <a:lnTo>
                    <a:pt x="2" y="84"/>
                  </a:lnTo>
                  <a:close/>
                  <a:moveTo>
                    <a:pt x="0" y="0"/>
                  </a:moveTo>
                  <a:lnTo>
                    <a:pt x="69" y="0"/>
                  </a:lnTo>
                  <a:lnTo>
                    <a:pt x="69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0" name="Freeform 56">
              <a:extLst>
                <a:ext uri="{FF2B5EF4-FFF2-40B4-BE49-F238E27FC236}">
                  <a16:creationId xmlns:a16="http://schemas.microsoft.com/office/drawing/2014/main" id="{7FAA5EAD-DDDF-5875-78B9-2F81DA8415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" y="478"/>
              <a:ext cx="26" cy="30"/>
            </a:xfrm>
            <a:custGeom>
              <a:avLst/>
              <a:gdLst>
                <a:gd name="T0" fmla="*/ 99 w 212"/>
                <a:gd name="T1" fmla="*/ 193 h 238"/>
                <a:gd name="T2" fmla="*/ 136 w 212"/>
                <a:gd name="T3" fmla="*/ 181 h 238"/>
                <a:gd name="T4" fmla="*/ 150 w 212"/>
                <a:gd name="T5" fmla="*/ 152 h 238"/>
                <a:gd name="T6" fmla="*/ 150 w 212"/>
                <a:gd name="T7" fmla="*/ 141 h 238"/>
                <a:gd name="T8" fmla="*/ 131 w 212"/>
                <a:gd name="T9" fmla="*/ 134 h 238"/>
                <a:gd name="T10" fmla="*/ 108 w 212"/>
                <a:gd name="T11" fmla="*/ 132 h 238"/>
                <a:gd name="T12" fmla="*/ 75 w 212"/>
                <a:gd name="T13" fmla="*/ 140 h 238"/>
                <a:gd name="T14" fmla="*/ 63 w 212"/>
                <a:gd name="T15" fmla="*/ 164 h 238"/>
                <a:gd name="T16" fmla="*/ 63 w 212"/>
                <a:gd name="T17" fmla="*/ 165 h 238"/>
                <a:gd name="T18" fmla="*/ 73 w 212"/>
                <a:gd name="T19" fmla="*/ 185 h 238"/>
                <a:gd name="T20" fmla="*/ 99 w 212"/>
                <a:gd name="T21" fmla="*/ 193 h 238"/>
                <a:gd name="T22" fmla="*/ 79 w 212"/>
                <a:gd name="T23" fmla="*/ 238 h 238"/>
                <a:gd name="T24" fmla="*/ 48 w 212"/>
                <a:gd name="T25" fmla="*/ 233 h 238"/>
                <a:gd name="T26" fmla="*/ 23 w 212"/>
                <a:gd name="T27" fmla="*/ 220 h 238"/>
                <a:gd name="T28" fmla="*/ 6 w 212"/>
                <a:gd name="T29" fmla="*/ 198 h 238"/>
                <a:gd name="T30" fmla="*/ 0 w 212"/>
                <a:gd name="T31" fmla="*/ 167 h 238"/>
                <a:gd name="T32" fmla="*/ 0 w 212"/>
                <a:gd name="T33" fmla="*/ 166 h 238"/>
                <a:gd name="T34" fmla="*/ 7 w 212"/>
                <a:gd name="T35" fmla="*/ 134 h 238"/>
                <a:gd name="T36" fmla="*/ 26 w 212"/>
                <a:gd name="T37" fmla="*/ 111 h 238"/>
                <a:gd name="T38" fmla="*/ 55 w 212"/>
                <a:gd name="T39" fmla="*/ 97 h 238"/>
                <a:gd name="T40" fmla="*/ 93 w 212"/>
                <a:gd name="T41" fmla="*/ 93 h 238"/>
                <a:gd name="T42" fmla="*/ 124 w 212"/>
                <a:gd name="T43" fmla="*/ 95 h 238"/>
                <a:gd name="T44" fmla="*/ 149 w 212"/>
                <a:gd name="T45" fmla="*/ 102 h 238"/>
                <a:gd name="T46" fmla="*/ 149 w 212"/>
                <a:gd name="T47" fmla="*/ 98 h 238"/>
                <a:gd name="T48" fmla="*/ 137 w 212"/>
                <a:gd name="T49" fmla="*/ 67 h 238"/>
                <a:gd name="T50" fmla="*/ 100 w 212"/>
                <a:gd name="T51" fmla="*/ 56 h 238"/>
                <a:gd name="T52" fmla="*/ 66 w 212"/>
                <a:gd name="T53" fmla="*/ 59 h 238"/>
                <a:gd name="T54" fmla="*/ 36 w 212"/>
                <a:gd name="T55" fmla="*/ 69 h 238"/>
                <a:gd name="T56" fmla="*/ 20 w 212"/>
                <a:gd name="T57" fmla="*/ 19 h 238"/>
                <a:gd name="T58" fmla="*/ 59 w 212"/>
                <a:gd name="T59" fmla="*/ 5 h 238"/>
                <a:gd name="T60" fmla="*/ 109 w 212"/>
                <a:gd name="T61" fmla="*/ 0 h 238"/>
                <a:gd name="T62" fmla="*/ 156 w 212"/>
                <a:gd name="T63" fmla="*/ 7 h 238"/>
                <a:gd name="T64" fmla="*/ 187 w 212"/>
                <a:gd name="T65" fmla="*/ 26 h 238"/>
                <a:gd name="T66" fmla="*/ 206 w 212"/>
                <a:gd name="T67" fmla="*/ 58 h 238"/>
                <a:gd name="T68" fmla="*/ 212 w 212"/>
                <a:gd name="T69" fmla="*/ 100 h 238"/>
                <a:gd name="T70" fmla="*/ 212 w 212"/>
                <a:gd name="T71" fmla="*/ 234 h 238"/>
                <a:gd name="T72" fmla="*/ 149 w 212"/>
                <a:gd name="T73" fmla="*/ 234 h 238"/>
                <a:gd name="T74" fmla="*/ 149 w 212"/>
                <a:gd name="T75" fmla="*/ 209 h 238"/>
                <a:gd name="T76" fmla="*/ 120 w 212"/>
                <a:gd name="T77" fmla="*/ 230 h 238"/>
                <a:gd name="T78" fmla="*/ 79 w 212"/>
                <a:gd name="T7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2" h="238">
                  <a:moveTo>
                    <a:pt x="99" y="193"/>
                  </a:moveTo>
                  <a:cubicBezTo>
                    <a:pt x="115" y="193"/>
                    <a:pt x="127" y="189"/>
                    <a:pt x="136" y="181"/>
                  </a:cubicBezTo>
                  <a:cubicBezTo>
                    <a:pt x="146" y="174"/>
                    <a:pt x="150" y="164"/>
                    <a:pt x="150" y="152"/>
                  </a:cubicBezTo>
                  <a:lnTo>
                    <a:pt x="150" y="141"/>
                  </a:lnTo>
                  <a:cubicBezTo>
                    <a:pt x="145" y="138"/>
                    <a:pt x="138" y="136"/>
                    <a:pt x="131" y="134"/>
                  </a:cubicBezTo>
                  <a:cubicBezTo>
                    <a:pt x="124" y="133"/>
                    <a:pt x="117" y="132"/>
                    <a:pt x="108" y="132"/>
                  </a:cubicBezTo>
                  <a:cubicBezTo>
                    <a:pt x="94" y="132"/>
                    <a:pt x="83" y="135"/>
                    <a:pt x="75" y="140"/>
                  </a:cubicBezTo>
                  <a:cubicBezTo>
                    <a:pt x="67" y="146"/>
                    <a:pt x="63" y="153"/>
                    <a:pt x="63" y="164"/>
                  </a:cubicBezTo>
                  <a:lnTo>
                    <a:pt x="63" y="165"/>
                  </a:lnTo>
                  <a:cubicBezTo>
                    <a:pt x="63" y="174"/>
                    <a:pt x="67" y="180"/>
                    <a:pt x="73" y="185"/>
                  </a:cubicBezTo>
                  <a:cubicBezTo>
                    <a:pt x="80" y="190"/>
                    <a:pt x="88" y="193"/>
                    <a:pt x="99" y="193"/>
                  </a:cubicBezTo>
                  <a:close/>
                  <a:moveTo>
                    <a:pt x="79" y="238"/>
                  </a:moveTo>
                  <a:cubicBezTo>
                    <a:pt x="68" y="238"/>
                    <a:pt x="58" y="236"/>
                    <a:pt x="48" y="233"/>
                  </a:cubicBezTo>
                  <a:cubicBezTo>
                    <a:pt x="39" y="230"/>
                    <a:pt x="30" y="226"/>
                    <a:pt x="23" y="220"/>
                  </a:cubicBezTo>
                  <a:cubicBezTo>
                    <a:pt x="16" y="214"/>
                    <a:pt x="10" y="206"/>
                    <a:pt x="6" y="198"/>
                  </a:cubicBezTo>
                  <a:cubicBezTo>
                    <a:pt x="2" y="189"/>
                    <a:pt x="0" y="179"/>
                    <a:pt x="0" y="167"/>
                  </a:cubicBezTo>
                  <a:lnTo>
                    <a:pt x="0" y="166"/>
                  </a:lnTo>
                  <a:cubicBezTo>
                    <a:pt x="0" y="154"/>
                    <a:pt x="2" y="143"/>
                    <a:pt x="7" y="134"/>
                  </a:cubicBezTo>
                  <a:cubicBezTo>
                    <a:pt x="11" y="124"/>
                    <a:pt x="18" y="117"/>
                    <a:pt x="26" y="111"/>
                  </a:cubicBezTo>
                  <a:cubicBezTo>
                    <a:pt x="34" y="105"/>
                    <a:pt x="44" y="100"/>
                    <a:pt x="55" y="97"/>
                  </a:cubicBezTo>
                  <a:cubicBezTo>
                    <a:pt x="67" y="94"/>
                    <a:pt x="79" y="93"/>
                    <a:pt x="93" y="93"/>
                  </a:cubicBezTo>
                  <a:cubicBezTo>
                    <a:pt x="105" y="93"/>
                    <a:pt x="115" y="94"/>
                    <a:pt x="124" y="95"/>
                  </a:cubicBezTo>
                  <a:cubicBezTo>
                    <a:pt x="133" y="97"/>
                    <a:pt x="141" y="99"/>
                    <a:pt x="149" y="102"/>
                  </a:cubicBezTo>
                  <a:lnTo>
                    <a:pt x="149" y="98"/>
                  </a:lnTo>
                  <a:cubicBezTo>
                    <a:pt x="149" y="85"/>
                    <a:pt x="145" y="74"/>
                    <a:pt x="137" y="67"/>
                  </a:cubicBezTo>
                  <a:cubicBezTo>
                    <a:pt x="129" y="60"/>
                    <a:pt x="116" y="56"/>
                    <a:pt x="100" y="56"/>
                  </a:cubicBezTo>
                  <a:cubicBezTo>
                    <a:pt x="87" y="56"/>
                    <a:pt x="76" y="57"/>
                    <a:pt x="66" y="59"/>
                  </a:cubicBezTo>
                  <a:cubicBezTo>
                    <a:pt x="57" y="62"/>
                    <a:pt x="47" y="65"/>
                    <a:pt x="36" y="69"/>
                  </a:cubicBezTo>
                  <a:lnTo>
                    <a:pt x="20" y="19"/>
                  </a:lnTo>
                  <a:cubicBezTo>
                    <a:pt x="32" y="13"/>
                    <a:pt x="46" y="9"/>
                    <a:pt x="59" y="5"/>
                  </a:cubicBezTo>
                  <a:cubicBezTo>
                    <a:pt x="73" y="2"/>
                    <a:pt x="90" y="0"/>
                    <a:pt x="109" y="0"/>
                  </a:cubicBezTo>
                  <a:cubicBezTo>
                    <a:pt x="127" y="0"/>
                    <a:pt x="143" y="2"/>
                    <a:pt x="156" y="7"/>
                  </a:cubicBezTo>
                  <a:cubicBezTo>
                    <a:pt x="168" y="11"/>
                    <a:pt x="179" y="18"/>
                    <a:pt x="187" y="26"/>
                  </a:cubicBezTo>
                  <a:cubicBezTo>
                    <a:pt x="196" y="35"/>
                    <a:pt x="202" y="45"/>
                    <a:pt x="206" y="58"/>
                  </a:cubicBezTo>
                  <a:cubicBezTo>
                    <a:pt x="210" y="70"/>
                    <a:pt x="212" y="84"/>
                    <a:pt x="212" y="100"/>
                  </a:cubicBezTo>
                  <a:lnTo>
                    <a:pt x="212" y="234"/>
                  </a:lnTo>
                  <a:lnTo>
                    <a:pt x="149" y="234"/>
                  </a:lnTo>
                  <a:lnTo>
                    <a:pt x="149" y="209"/>
                  </a:lnTo>
                  <a:cubicBezTo>
                    <a:pt x="141" y="218"/>
                    <a:pt x="131" y="225"/>
                    <a:pt x="120" y="230"/>
                  </a:cubicBezTo>
                  <a:cubicBezTo>
                    <a:pt x="109" y="235"/>
                    <a:pt x="95" y="238"/>
                    <a:pt x="79" y="2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pic>
        <p:nvPicPr>
          <p:cNvPr id="61" name="Imagen 13" descr="C:\Users\mperis\AppData\Local\Microsoft\Windows\INetCache\Content.Word\logo-UE-nextgeneration-color-outline.emf">
            <a:extLst>
              <a:ext uri="{FF2B5EF4-FFF2-40B4-BE49-F238E27FC236}">
                <a16:creationId xmlns:a16="http://schemas.microsoft.com/office/drawing/2014/main" id="{55829E30-9C91-5283-5FFA-E47FB19A87C3}"/>
              </a:ext>
            </a:extLst>
          </p:cNvPr>
          <p:cNvPicPr/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1062" t="-165968" r="-51959" b="-89032"/>
          <a:stretch/>
        </p:blipFill>
        <p:spPr bwMode="auto">
          <a:xfrm>
            <a:off x="9256712" y="-207806"/>
            <a:ext cx="2775759" cy="109396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96025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- White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2879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pic>
        <p:nvPicPr>
          <p:cNvPr id="3" name="Picture 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A11E68F-FA0A-1851-69AD-6CBD81C05C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275" y="342900"/>
            <a:ext cx="1889758" cy="35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557778"/>
      </p:ext>
    </p:extLst>
  </p:cSld>
  <p:clrMapOvr>
    <a:masterClrMapping/>
  </p:clrMapOvr>
  <p:transition>
    <p:fade/>
  </p:transition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- White with tagline logo lockup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2879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CE3197-4FD7-77BA-5D06-0DB9319632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4991CEB-2ABA-967D-DDD7-4B7737D037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pic>
        <p:nvPicPr>
          <p:cNvPr id="4" name="Picture 3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0A84F9A9-E8DB-C7F6-26F7-CAFE4A1672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4" y="344025"/>
            <a:ext cx="2105480" cy="66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692492"/>
      </p:ext>
    </p:extLst>
  </p:cSld>
  <p:clrMapOvr>
    <a:masterClrMapping/>
  </p:clrMapOvr>
  <p:transition>
    <p:fade/>
  </p:transition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with tagline logo lockup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secondary text</a:t>
            </a:r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D417F91-0FD9-83FB-569A-B960E93D5A0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5925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9C665D4-C05E-69AE-69D2-48972FF14F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628143"/>
            <a:ext cx="4490721" cy="556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20000"/>
              </a:lnSpc>
              <a:defRPr sz="3200" b="0">
                <a:solidFill>
                  <a:schemeClr val="accent1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4" name="Picture 3" descr="A white text on a black background&#10;&#10;AI-generated content may be incorrect.">
            <a:extLst>
              <a:ext uri="{FF2B5EF4-FFF2-40B4-BE49-F238E27FC236}">
                <a16:creationId xmlns:a16="http://schemas.microsoft.com/office/drawing/2014/main" id="{78F58B5D-7D19-5BB6-AFDF-8CFFEEECE3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275" y="342900"/>
            <a:ext cx="1889758" cy="35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72900"/>
      </p:ext>
    </p:extLst>
  </p:cSld>
  <p:clrMapOvr>
    <a:masterClrMapping/>
  </p:clrMapOvr>
  <p:transition>
    <p:fade/>
  </p:transition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263045233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2913" y="345664"/>
            <a:ext cx="1130617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57200" y="1679602"/>
            <a:ext cx="11306175" cy="46619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2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tx2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º›</a:t>
            </a:fld>
            <a:endParaRPr lang="en-US" sz="800" noProof="0" dirty="0">
              <a:solidFill>
                <a:schemeClr val="tx2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52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6" r:id="rId11"/>
    <p:sldLayoutId id="2147483987" r:id="rId12"/>
    <p:sldLayoutId id="2147483988" r:id="rId13"/>
    <p:sldLayoutId id="2147483989" r:id="rId14"/>
    <p:sldLayoutId id="2147483990" r:id="rId15"/>
    <p:sldLayoutId id="2147483991" r:id="rId16"/>
    <p:sldLayoutId id="2147483992" r:id="rId17"/>
    <p:sldLayoutId id="2147483993" r:id="rId18"/>
    <p:sldLayoutId id="2147483994" r:id="rId19"/>
    <p:sldLayoutId id="2147483995" r:id="rId20"/>
    <p:sldLayoutId id="2147483996" r:id="rId21"/>
    <p:sldLayoutId id="2147483997" r:id="rId22"/>
    <p:sldLayoutId id="2147483998" r:id="rId23"/>
    <p:sldLayoutId id="2147483999" r:id="rId24"/>
    <p:sldLayoutId id="2147484000" r:id="rId25"/>
    <p:sldLayoutId id="2147484001" r:id="rId26"/>
    <p:sldLayoutId id="2147484002" r:id="rId27"/>
    <p:sldLayoutId id="2147484003" r:id="rId28"/>
    <p:sldLayoutId id="2147484004" r:id="rId29"/>
    <p:sldLayoutId id="2147484005" r:id="rId30"/>
    <p:sldLayoutId id="2147484006" r:id="rId31"/>
    <p:sldLayoutId id="2147484007" r:id="rId32"/>
    <p:sldLayoutId id="2147484008" r:id="rId33"/>
    <p:sldLayoutId id="2147484009" r:id="rId34"/>
    <p:sldLayoutId id="2147484010" r:id="rId35"/>
    <p:sldLayoutId id="2147484011" r:id="rId36"/>
    <p:sldLayoutId id="2147484012" r:id="rId37"/>
    <p:sldLayoutId id="2147484013" r:id="rId38"/>
    <p:sldLayoutId id="2147484014" r:id="rId39"/>
    <p:sldLayoutId id="2147484015" r:id="rId40"/>
    <p:sldLayoutId id="2147484016" r:id="rId41"/>
    <p:sldLayoutId id="2147484017" r:id="rId42"/>
    <p:sldLayoutId id="2147484018" r:id="rId43"/>
    <p:sldLayoutId id="2147484019" r:id="rId44"/>
    <p:sldLayoutId id="2147484020" r:id="rId45"/>
    <p:sldLayoutId id="2147484021" r:id="rId46"/>
    <p:sldLayoutId id="2147484022" r:id="rId47"/>
    <p:sldLayoutId id="2147484023" r:id="rId48"/>
    <p:sldLayoutId id="2147484024" r:id="rId49"/>
    <p:sldLayoutId id="2147484025" r:id="rId50"/>
    <p:sldLayoutId id="2147484026" r:id="rId51"/>
    <p:sldLayoutId id="2147484027" r:id="rId52"/>
    <p:sldLayoutId id="2147484028" r:id="rId53"/>
    <p:sldLayoutId id="2147484029" r:id="rId54"/>
    <p:sldLayoutId id="2147484030" r:id="rId55"/>
    <p:sldLayoutId id="2147484031" r:id="rId56"/>
    <p:sldLayoutId id="2147484032" r:id="rId57"/>
    <p:sldLayoutId id="2147484033" r:id="rId58"/>
    <p:sldLayoutId id="2147484034" r:id="rId59"/>
    <p:sldLayoutId id="2147484035" r:id="rId60"/>
    <p:sldLayoutId id="2147484036" r:id="rId61"/>
    <p:sldLayoutId id="2147484037" r:id="rId62"/>
    <p:sldLayoutId id="2147484038" r:id="rId63"/>
    <p:sldLayoutId id="2147484039" r:id="rId64"/>
    <p:sldLayoutId id="2147484040" r:id="rId65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Aptos" panose="020B0004020202020204" pitchFamily="34" charset="0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SzPct val="100000"/>
        <a:buFontTx/>
        <a:buNone/>
        <a:defRPr sz="1200" b="0" kern="1200">
          <a:solidFill>
            <a:schemeClr val="tx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1pPr>
      <a:lvl2pPr marL="179388" indent="-179388" algn="l" defTabSz="6858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2pPr>
      <a:lvl3pPr marL="360363" indent="-180975" algn="l" defTabSz="6858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−"/>
        <a:defRPr lang="en-US" sz="1200" b="0" kern="1200" dirty="0" smtClean="0">
          <a:solidFill>
            <a:schemeClr val="tx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3pPr>
      <a:lvl4pPr marL="538163" indent="-177800" algn="l" defTabSz="6858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◦"/>
        <a:defRPr lang="en-US" sz="1200" b="0" kern="1200" baseline="0" dirty="0" smtClean="0">
          <a:solidFill>
            <a:schemeClr val="tx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4pPr>
      <a:lvl5pPr marL="717550" indent="-179388" algn="l" defTabSz="598885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−"/>
        <a:tabLst/>
        <a:defRPr lang="en-US" sz="1200" b="0" kern="1200" baseline="0" dirty="0" smtClean="0">
          <a:solidFill>
            <a:schemeClr val="tx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5" pos="3923">
          <p15:clr>
            <a:srgbClr val="A4A3A4"/>
          </p15:clr>
        </p15:guide>
        <p15:guide id="86" orient="horz" pos="4008">
          <p15:clr>
            <a:srgbClr val="F26B43"/>
          </p15:clr>
        </p15:guide>
        <p15:guide id="87" orient="horz" pos="4104">
          <p15:clr>
            <a:srgbClr val="F26B43"/>
          </p15:clr>
        </p15:guide>
        <p15:guide id="88" orient="horz" pos="1056">
          <p15:clr>
            <a:srgbClr val="F26B43"/>
          </p15:clr>
        </p15:guide>
        <p15:guide id="89" pos="3840">
          <p15:clr>
            <a:srgbClr val="F26B43"/>
          </p15:clr>
        </p15:guide>
        <p15:guide id="90" pos="7401">
          <p15:clr>
            <a:srgbClr val="F26B43"/>
          </p15:clr>
        </p15:guide>
        <p15:guide id="91" orient="horz" pos="216">
          <p15:clr>
            <a:srgbClr val="F26B43"/>
          </p15:clr>
        </p15:guide>
        <p15:guide id="92" orient="horz" pos="432">
          <p15:clr>
            <a:srgbClr val="F26B43"/>
          </p15:clr>
        </p15:guide>
        <p15:guide id="93" pos="279">
          <p15:clr>
            <a:srgbClr val="F26B43"/>
          </p15:clr>
        </p15:guide>
        <p15:guide id="94" pos="3755">
          <p15:clr>
            <a:srgbClr val="A4A3A4"/>
          </p15:clr>
        </p15:guide>
        <p15:guide id="95" pos="4970">
          <p15:clr>
            <a:srgbClr val="A4A3A4"/>
          </p15:clr>
        </p15:guide>
        <p15:guide id="96" pos="2710">
          <p15:clr>
            <a:srgbClr val="A4A3A4"/>
          </p15:clr>
        </p15:guide>
        <p15:guide id="97" pos="2539">
          <p15:clr>
            <a:srgbClr val="A4A3A4"/>
          </p15:clr>
        </p15:guide>
        <p15:guide id="98" pos="5142">
          <p15:clr>
            <a:srgbClr val="A4A3A4"/>
          </p15:clr>
        </p15:guide>
        <p15:guide id="99" pos="6187">
          <p15:clr>
            <a:srgbClr val="A4A3A4"/>
          </p15:clr>
        </p15:guide>
        <p15:guide id="100" pos="6358">
          <p15:clr>
            <a:srgbClr val="A4A3A4"/>
          </p15:clr>
        </p15:guide>
        <p15:guide id="101" pos="1493">
          <p15:clr>
            <a:srgbClr val="A4A3A4"/>
          </p15:clr>
        </p15:guide>
        <p15:guide id="102" pos="132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customXml" Target="../../customXml/item3.xml"/><Relationship Id="rId7" Type="http://schemas.openxmlformats.org/officeDocument/2006/relationships/image" Target="../media/image13.emf"/><Relationship Id="rId2" Type="http://schemas.openxmlformats.org/officeDocument/2006/relationships/customXml" Target="../../customXml/item4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39.xml"/><Relationship Id="rId10" Type="http://schemas.openxmlformats.org/officeDocument/2006/relationships/image" Target="../media/image12.emf"/><Relationship Id="rId4" Type="http://schemas.openxmlformats.org/officeDocument/2006/relationships/tags" Target="../tags/tag17.xml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svg"/><Relationship Id="rId1" Type="http://schemas.openxmlformats.org/officeDocument/2006/relationships/slideLayout" Target="../slideLayouts/slideLayout6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BE2B10B-93D0-232D-4B72-110AF00AAACD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6" imgW="494" imgH="494" progId="TCLayout.ActiveDocument.1">
                  <p:embed/>
                </p:oleObj>
              </mc:Choice>
              <mc:Fallback>
                <p:oleObj name="think-cell Slide" r:id="rId6" imgW="494" imgH="4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E2B10B-93D0-232D-4B72-110AF00AAA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EEC8FC21-0E20-AC57-6FA2-9563F76B128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15771"/>
          <a:stretch>
            <a:fillRect/>
          </a:stretch>
        </p:blipFill>
        <p:spPr>
          <a:xfrm>
            <a:off x="1766725" y="886162"/>
            <a:ext cx="10425275" cy="4942031"/>
          </a:xfrm>
          <a:prstGeom prst="rect">
            <a:avLst/>
          </a:prstGeom>
        </p:spPr>
      </p:pic>
      <p:sp>
        <p:nvSpPr>
          <p:cNvPr id="7" name="CuadroTexto 4">
            <a:extLst>
              <a:ext uri="{FF2B5EF4-FFF2-40B4-BE49-F238E27FC236}">
                <a16:creationId xmlns:a16="http://schemas.microsoft.com/office/drawing/2014/main" id="{80E3E3FC-15E8-877F-C21E-E9B398A42D92}"/>
              </a:ext>
            </a:extLst>
          </p:cNvPr>
          <p:cNvSpPr txBox="1"/>
          <p:nvPr/>
        </p:nvSpPr>
        <p:spPr>
          <a:xfrm>
            <a:off x="239485" y="3025971"/>
            <a:ext cx="603526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s-ES" sz="3200" dirty="0">
                <a:solidFill>
                  <a:srgbClr val="DEA726"/>
                </a:solidFill>
                <a:latin typeface="Trebuchet MS"/>
              </a:rPr>
              <a:t>Sistema de vídeo identificación ciudadana para la emisión del PIN Salu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F76FFAB-A652-A7F2-BCFB-F4239F733D1A}"/>
              </a:ext>
            </a:extLst>
          </p:cNvPr>
          <p:cNvCxnSpPr/>
          <p:nvPr/>
        </p:nvCxnSpPr>
        <p:spPr>
          <a:xfrm>
            <a:off x="719605" y="1175657"/>
            <a:ext cx="10155224" cy="0"/>
          </a:xfrm>
          <a:prstGeom prst="line">
            <a:avLst/>
          </a:prstGeom>
          <a:ln w="63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F76F498B-C88F-0CF9-07FD-FE2ACBAA8B7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76220" y="282006"/>
            <a:ext cx="1372848" cy="326767"/>
          </a:xfrm>
          <a:prstGeom prst="rect">
            <a:avLst/>
          </a:prstGeom>
        </p:spPr>
      </p:pic>
      <p:grpSp>
        <p:nvGrpSpPr>
          <p:cNvPr id="4" name="Group 4">
            <a:extLst>
              <a:ext uri="{FF2B5EF4-FFF2-40B4-BE49-F238E27FC236}">
                <a16:creationId xmlns:a16="http://schemas.microsoft.com/office/drawing/2014/main" id="{AD775C82-315C-7100-116F-5BA2C17C48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48424" y="304102"/>
            <a:ext cx="1314450" cy="273050"/>
            <a:chOff x="1915" y="345"/>
            <a:chExt cx="828" cy="172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0DFF5D40-9100-8165-168B-7C8393897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345"/>
              <a:ext cx="96" cy="170"/>
            </a:xfrm>
            <a:custGeom>
              <a:avLst/>
              <a:gdLst>
                <a:gd name="T0" fmla="*/ 96 w 96"/>
                <a:gd name="T1" fmla="*/ 0 h 170"/>
                <a:gd name="T2" fmla="*/ 96 w 96"/>
                <a:gd name="T3" fmla="*/ 34 h 170"/>
                <a:gd name="T4" fmla="*/ 66 w 96"/>
                <a:gd name="T5" fmla="*/ 34 h 170"/>
                <a:gd name="T6" fmla="*/ 66 w 96"/>
                <a:gd name="T7" fmla="*/ 170 h 170"/>
                <a:gd name="T8" fmla="*/ 30 w 96"/>
                <a:gd name="T9" fmla="*/ 170 h 170"/>
                <a:gd name="T10" fmla="*/ 30 w 96"/>
                <a:gd name="T11" fmla="*/ 34 h 170"/>
                <a:gd name="T12" fmla="*/ 0 w 96"/>
                <a:gd name="T13" fmla="*/ 34 h 170"/>
                <a:gd name="T14" fmla="*/ 0 w 96"/>
                <a:gd name="T15" fmla="*/ 0 h 170"/>
                <a:gd name="T16" fmla="*/ 96 w 96"/>
                <a:gd name="T1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70">
                  <a:moveTo>
                    <a:pt x="96" y="0"/>
                  </a:moveTo>
                  <a:lnTo>
                    <a:pt x="96" y="34"/>
                  </a:lnTo>
                  <a:lnTo>
                    <a:pt x="66" y="34"/>
                  </a:lnTo>
                  <a:lnTo>
                    <a:pt x="66" y="170"/>
                  </a:lnTo>
                  <a:lnTo>
                    <a:pt x="30" y="170"/>
                  </a:lnTo>
                  <a:lnTo>
                    <a:pt x="30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D21A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DD3A1F7B-59BD-7E0A-88AE-2C88F0DAF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" y="461"/>
              <a:ext cx="76" cy="54"/>
            </a:xfrm>
            <a:custGeom>
              <a:avLst/>
              <a:gdLst>
                <a:gd name="T0" fmla="*/ 313 w 617"/>
                <a:gd name="T1" fmla="*/ 0 h 423"/>
                <a:gd name="T2" fmla="*/ 273 w 617"/>
                <a:gd name="T3" fmla="*/ 12 h 423"/>
                <a:gd name="T4" fmla="*/ 73 w 617"/>
                <a:gd name="T5" fmla="*/ 51 h 423"/>
                <a:gd name="T6" fmla="*/ 0 w 617"/>
                <a:gd name="T7" fmla="*/ 53 h 423"/>
                <a:gd name="T8" fmla="*/ 264 w 617"/>
                <a:gd name="T9" fmla="*/ 423 h 423"/>
                <a:gd name="T10" fmla="*/ 617 w 617"/>
                <a:gd name="T11" fmla="*/ 423 h 423"/>
                <a:gd name="T12" fmla="*/ 313 w 617"/>
                <a:gd name="T13" fmla="*/ 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7" h="423">
                  <a:moveTo>
                    <a:pt x="313" y="0"/>
                  </a:moveTo>
                  <a:lnTo>
                    <a:pt x="273" y="12"/>
                  </a:lnTo>
                  <a:cubicBezTo>
                    <a:pt x="208" y="33"/>
                    <a:pt x="141" y="46"/>
                    <a:pt x="73" y="51"/>
                  </a:cubicBezTo>
                  <a:lnTo>
                    <a:pt x="0" y="53"/>
                  </a:lnTo>
                  <a:lnTo>
                    <a:pt x="264" y="423"/>
                  </a:lnTo>
                  <a:lnTo>
                    <a:pt x="617" y="423"/>
                  </a:lnTo>
                  <a:lnTo>
                    <a:pt x="313" y="0"/>
                  </a:lnTo>
                  <a:close/>
                </a:path>
              </a:pathLst>
            </a:custGeom>
            <a:solidFill>
              <a:srgbClr val="D21A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F90DDAD-5BB1-CC1B-D360-632C5BA19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4" y="482"/>
              <a:ext cx="28" cy="26"/>
            </a:xfrm>
            <a:custGeom>
              <a:avLst/>
              <a:gdLst>
                <a:gd name="T0" fmla="*/ 28 w 28"/>
                <a:gd name="T1" fmla="*/ 10 h 26"/>
                <a:gd name="T2" fmla="*/ 18 w 28"/>
                <a:gd name="T3" fmla="*/ 10 h 26"/>
                <a:gd name="T4" fmla="*/ 16 w 28"/>
                <a:gd name="T5" fmla="*/ 0 h 26"/>
                <a:gd name="T6" fmla="*/ 11 w 28"/>
                <a:gd name="T7" fmla="*/ 9 h 26"/>
                <a:gd name="T8" fmla="*/ 0 w 28"/>
                <a:gd name="T9" fmla="*/ 8 h 26"/>
                <a:gd name="T10" fmla="*/ 7 w 28"/>
                <a:gd name="T11" fmla="*/ 15 h 26"/>
                <a:gd name="T12" fmla="*/ 2 w 28"/>
                <a:gd name="T13" fmla="*/ 25 h 26"/>
                <a:gd name="T14" fmla="*/ 12 w 28"/>
                <a:gd name="T15" fmla="*/ 20 h 26"/>
                <a:gd name="T16" fmla="*/ 22 w 28"/>
                <a:gd name="T17" fmla="*/ 26 h 26"/>
                <a:gd name="T18" fmla="*/ 19 w 28"/>
                <a:gd name="T19" fmla="*/ 16 h 26"/>
                <a:gd name="T20" fmla="*/ 28 w 28"/>
                <a:gd name="T21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0"/>
                  </a:moveTo>
                  <a:lnTo>
                    <a:pt x="18" y="10"/>
                  </a:lnTo>
                  <a:lnTo>
                    <a:pt x="16" y="0"/>
                  </a:lnTo>
                  <a:lnTo>
                    <a:pt x="11" y="9"/>
                  </a:lnTo>
                  <a:lnTo>
                    <a:pt x="0" y="8"/>
                  </a:lnTo>
                  <a:lnTo>
                    <a:pt x="7" y="15"/>
                  </a:lnTo>
                  <a:lnTo>
                    <a:pt x="2" y="25"/>
                  </a:lnTo>
                  <a:lnTo>
                    <a:pt x="12" y="20"/>
                  </a:lnTo>
                  <a:lnTo>
                    <a:pt x="22" y="26"/>
                  </a:lnTo>
                  <a:lnTo>
                    <a:pt x="19" y="16"/>
                  </a:lnTo>
                  <a:lnTo>
                    <a:pt x="28" y="10"/>
                  </a:ln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60651CF2-1950-E06E-8E13-787C2BFE8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6" y="449"/>
              <a:ext cx="27" cy="24"/>
            </a:xfrm>
            <a:custGeom>
              <a:avLst/>
              <a:gdLst>
                <a:gd name="T0" fmla="*/ 27 w 27"/>
                <a:gd name="T1" fmla="*/ 9 h 24"/>
                <a:gd name="T2" fmla="*/ 17 w 27"/>
                <a:gd name="T3" fmla="*/ 9 h 24"/>
                <a:gd name="T4" fmla="*/ 15 w 27"/>
                <a:gd name="T5" fmla="*/ 0 h 24"/>
                <a:gd name="T6" fmla="*/ 10 w 27"/>
                <a:gd name="T7" fmla="*/ 8 h 24"/>
                <a:gd name="T8" fmla="*/ 0 w 27"/>
                <a:gd name="T9" fmla="*/ 8 h 24"/>
                <a:gd name="T10" fmla="*/ 7 w 27"/>
                <a:gd name="T11" fmla="*/ 14 h 24"/>
                <a:gd name="T12" fmla="*/ 1 w 27"/>
                <a:gd name="T13" fmla="*/ 23 h 24"/>
                <a:gd name="T14" fmla="*/ 11 w 27"/>
                <a:gd name="T15" fmla="*/ 18 h 24"/>
                <a:gd name="T16" fmla="*/ 19 w 27"/>
                <a:gd name="T17" fmla="*/ 24 h 24"/>
                <a:gd name="T18" fmla="*/ 18 w 27"/>
                <a:gd name="T19" fmla="*/ 15 h 24"/>
                <a:gd name="T20" fmla="*/ 27 w 27"/>
                <a:gd name="T2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24">
                  <a:moveTo>
                    <a:pt x="27" y="9"/>
                  </a:moveTo>
                  <a:lnTo>
                    <a:pt x="17" y="9"/>
                  </a:lnTo>
                  <a:lnTo>
                    <a:pt x="15" y="0"/>
                  </a:lnTo>
                  <a:lnTo>
                    <a:pt x="10" y="8"/>
                  </a:lnTo>
                  <a:lnTo>
                    <a:pt x="0" y="8"/>
                  </a:lnTo>
                  <a:lnTo>
                    <a:pt x="7" y="14"/>
                  </a:lnTo>
                  <a:lnTo>
                    <a:pt x="1" y="23"/>
                  </a:lnTo>
                  <a:lnTo>
                    <a:pt x="11" y="18"/>
                  </a:lnTo>
                  <a:lnTo>
                    <a:pt x="19" y="24"/>
                  </a:lnTo>
                  <a:lnTo>
                    <a:pt x="18" y="15"/>
                  </a:lnTo>
                  <a:lnTo>
                    <a:pt x="27" y="9"/>
                  </a:ln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0" name="Freeform 9">
              <a:extLst>
                <a:ext uri="{FF2B5EF4-FFF2-40B4-BE49-F238E27FC236}">
                  <a16:creationId xmlns:a16="http://schemas.microsoft.com/office/drawing/2014/main" id="{1317D84B-E284-6769-17BF-FD29B5B3D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5" y="414"/>
              <a:ext cx="24" cy="20"/>
            </a:xfrm>
            <a:custGeom>
              <a:avLst/>
              <a:gdLst>
                <a:gd name="T0" fmla="*/ 24 w 24"/>
                <a:gd name="T1" fmla="*/ 8 h 20"/>
                <a:gd name="T2" fmla="*/ 15 w 24"/>
                <a:gd name="T3" fmla="*/ 7 h 20"/>
                <a:gd name="T4" fmla="*/ 14 w 24"/>
                <a:gd name="T5" fmla="*/ 0 h 20"/>
                <a:gd name="T6" fmla="*/ 9 w 24"/>
                <a:gd name="T7" fmla="*/ 7 h 20"/>
                <a:gd name="T8" fmla="*/ 0 w 24"/>
                <a:gd name="T9" fmla="*/ 6 h 20"/>
                <a:gd name="T10" fmla="*/ 6 w 24"/>
                <a:gd name="T11" fmla="*/ 12 h 20"/>
                <a:gd name="T12" fmla="*/ 1 w 24"/>
                <a:gd name="T13" fmla="*/ 19 h 20"/>
                <a:gd name="T14" fmla="*/ 11 w 24"/>
                <a:gd name="T15" fmla="*/ 15 h 20"/>
                <a:gd name="T16" fmla="*/ 18 w 24"/>
                <a:gd name="T17" fmla="*/ 20 h 20"/>
                <a:gd name="T18" fmla="*/ 16 w 24"/>
                <a:gd name="T19" fmla="*/ 13 h 20"/>
                <a:gd name="T20" fmla="*/ 24 w 24"/>
                <a:gd name="T21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20">
                  <a:moveTo>
                    <a:pt x="24" y="8"/>
                  </a:moveTo>
                  <a:lnTo>
                    <a:pt x="15" y="7"/>
                  </a:lnTo>
                  <a:lnTo>
                    <a:pt x="14" y="0"/>
                  </a:lnTo>
                  <a:lnTo>
                    <a:pt x="9" y="7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" y="19"/>
                  </a:lnTo>
                  <a:lnTo>
                    <a:pt x="11" y="15"/>
                  </a:lnTo>
                  <a:lnTo>
                    <a:pt x="18" y="20"/>
                  </a:lnTo>
                  <a:lnTo>
                    <a:pt x="16" y="13"/>
                  </a:lnTo>
                  <a:lnTo>
                    <a:pt x="24" y="8"/>
                  </a:ln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" name="Freeform 10">
              <a:extLst>
                <a:ext uri="{FF2B5EF4-FFF2-40B4-BE49-F238E27FC236}">
                  <a16:creationId xmlns:a16="http://schemas.microsoft.com/office/drawing/2014/main" id="{3CE3140C-D7C9-742F-F394-90F41EAB1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5" y="387"/>
              <a:ext cx="21" cy="16"/>
            </a:xfrm>
            <a:custGeom>
              <a:avLst/>
              <a:gdLst>
                <a:gd name="T0" fmla="*/ 21 w 21"/>
                <a:gd name="T1" fmla="*/ 6 h 16"/>
                <a:gd name="T2" fmla="*/ 13 w 21"/>
                <a:gd name="T3" fmla="*/ 6 h 16"/>
                <a:gd name="T4" fmla="*/ 12 w 21"/>
                <a:gd name="T5" fmla="*/ 0 h 16"/>
                <a:gd name="T6" fmla="*/ 8 w 21"/>
                <a:gd name="T7" fmla="*/ 6 h 16"/>
                <a:gd name="T8" fmla="*/ 0 w 21"/>
                <a:gd name="T9" fmla="*/ 5 h 16"/>
                <a:gd name="T10" fmla="*/ 5 w 21"/>
                <a:gd name="T11" fmla="*/ 9 h 16"/>
                <a:gd name="T12" fmla="*/ 0 w 21"/>
                <a:gd name="T13" fmla="*/ 15 h 16"/>
                <a:gd name="T14" fmla="*/ 9 w 21"/>
                <a:gd name="T15" fmla="*/ 12 h 16"/>
                <a:gd name="T16" fmla="*/ 15 w 21"/>
                <a:gd name="T17" fmla="*/ 16 h 16"/>
                <a:gd name="T18" fmla="*/ 14 w 21"/>
                <a:gd name="T19" fmla="*/ 10 h 16"/>
                <a:gd name="T20" fmla="*/ 21 w 21"/>
                <a:gd name="T21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6">
                  <a:moveTo>
                    <a:pt x="21" y="6"/>
                  </a:moveTo>
                  <a:lnTo>
                    <a:pt x="13" y="6"/>
                  </a:lnTo>
                  <a:lnTo>
                    <a:pt x="12" y="0"/>
                  </a:lnTo>
                  <a:lnTo>
                    <a:pt x="8" y="6"/>
                  </a:lnTo>
                  <a:lnTo>
                    <a:pt x="0" y="5"/>
                  </a:lnTo>
                  <a:lnTo>
                    <a:pt x="5" y="9"/>
                  </a:lnTo>
                  <a:lnTo>
                    <a:pt x="0" y="15"/>
                  </a:lnTo>
                  <a:lnTo>
                    <a:pt x="9" y="12"/>
                  </a:lnTo>
                  <a:lnTo>
                    <a:pt x="15" y="16"/>
                  </a:lnTo>
                  <a:lnTo>
                    <a:pt x="14" y="10"/>
                  </a:lnTo>
                  <a:lnTo>
                    <a:pt x="21" y="6"/>
                  </a:ln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" name="Freeform 11">
              <a:extLst>
                <a:ext uri="{FF2B5EF4-FFF2-40B4-BE49-F238E27FC236}">
                  <a16:creationId xmlns:a16="http://schemas.microsoft.com/office/drawing/2014/main" id="{01C62520-664A-E875-096A-9086FE988A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8" y="345"/>
              <a:ext cx="94" cy="120"/>
            </a:xfrm>
            <a:custGeom>
              <a:avLst/>
              <a:gdLst>
                <a:gd name="T0" fmla="*/ 726 w 763"/>
                <a:gd name="T1" fmla="*/ 275 h 935"/>
                <a:gd name="T2" fmla="*/ 620 w 763"/>
                <a:gd name="T3" fmla="*/ 129 h 935"/>
                <a:gd name="T4" fmla="*/ 452 w 763"/>
                <a:gd name="T5" fmla="*/ 35 h 935"/>
                <a:gd name="T6" fmla="*/ 243 w 763"/>
                <a:gd name="T7" fmla="*/ 2 h 935"/>
                <a:gd name="T8" fmla="*/ 243 w 763"/>
                <a:gd name="T9" fmla="*/ 266 h 935"/>
                <a:gd name="T10" fmla="*/ 384 w 763"/>
                <a:gd name="T11" fmla="*/ 318 h 935"/>
                <a:gd name="T12" fmla="*/ 451 w 763"/>
                <a:gd name="T13" fmla="*/ 468 h 935"/>
                <a:gd name="T14" fmla="*/ 451 w 763"/>
                <a:gd name="T15" fmla="*/ 472 h 935"/>
                <a:gd name="T16" fmla="*/ 387 w 763"/>
                <a:gd name="T17" fmla="*/ 616 h 935"/>
                <a:gd name="T18" fmla="*/ 208 w 763"/>
                <a:gd name="T19" fmla="*/ 674 h 935"/>
                <a:gd name="T20" fmla="*/ 0 w 763"/>
                <a:gd name="T21" fmla="*/ 674 h 935"/>
                <a:gd name="T22" fmla="*/ 0 w 763"/>
                <a:gd name="T23" fmla="*/ 935 h 935"/>
                <a:gd name="T24" fmla="*/ 198 w 763"/>
                <a:gd name="T25" fmla="*/ 935 h 935"/>
                <a:gd name="T26" fmla="*/ 418 w 763"/>
                <a:gd name="T27" fmla="*/ 905 h 935"/>
                <a:gd name="T28" fmla="*/ 598 w 763"/>
                <a:gd name="T29" fmla="*/ 817 h 935"/>
                <a:gd name="T30" fmla="*/ 719 w 763"/>
                <a:gd name="T31" fmla="*/ 670 h 935"/>
                <a:gd name="T32" fmla="*/ 763 w 763"/>
                <a:gd name="T33" fmla="*/ 466 h 935"/>
                <a:gd name="T34" fmla="*/ 763 w 763"/>
                <a:gd name="T35" fmla="*/ 462 h 935"/>
                <a:gd name="T36" fmla="*/ 726 w 763"/>
                <a:gd name="T37" fmla="*/ 275 h 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63" h="935">
                  <a:moveTo>
                    <a:pt x="726" y="275"/>
                  </a:moveTo>
                  <a:cubicBezTo>
                    <a:pt x="701" y="219"/>
                    <a:pt x="666" y="170"/>
                    <a:pt x="620" y="129"/>
                  </a:cubicBezTo>
                  <a:cubicBezTo>
                    <a:pt x="574" y="89"/>
                    <a:pt x="518" y="57"/>
                    <a:pt x="452" y="35"/>
                  </a:cubicBezTo>
                  <a:cubicBezTo>
                    <a:pt x="345" y="0"/>
                    <a:pt x="243" y="2"/>
                    <a:pt x="243" y="2"/>
                  </a:cubicBezTo>
                  <a:cubicBezTo>
                    <a:pt x="243" y="90"/>
                    <a:pt x="244" y="177"/>
                    <a:pt x="243" y="266"/>
                  </a:cubicBezTo>
                  <a:cubicBezTo>
                    <a:pt x="290" y="271"/>
                    <a:pt x="340" y="284"/>
                    <a:pt x="384" y="318"/>
                  </a:cubicBezTo>
                  <a:cubicBezTo>
                    <a:pt x="429" y="352"/>
                    <a:pt x="451" y="402"/>
                    <a:pt x="451" y="468"/>
                  </a:cubicBezTo>
                  <a:lnTo>
                    <a:pt x="451" y="472"/>
                  </a:lnTo>
                  <a:cubicBezTo>
                    <a:pt x="451" y="529"/>
                    <a:pt x="430" y="577"/>
                    <a:pt x="387" y="616"/>
                  </a:cubicBezTo>
                  <a:cubicBezTo>
                    <a:pt x="345" y="654"/>
                    <a:pt x="285" y="674"/>
                    <a:pt x="208" y="674"/>
                  </a:cubicBezTo>
                  <a:lnTo>
                    <a:pt x="0" y="674"/>
                  </a:lnTo>
                  <a:cubicBezTo>
                    <a:pt x="0" y="762"/>
                    <a:pt x="0" y="847"/>
                    <a:pt x="0" y="935"/>
                  </a:cubicBezTo>
                  <a:lnTo>
                    <a:pt x="198" y="935"/>
                  </a:lnTo>
                  <a:cubicBezTo>
                    <a:pt x="276" y="935"/>
                    <a:pt x="350" y="925"/>
                    <a:pt x="418" y="905"/>
                  </a:cubicBezTo>
                  <a:cubicBezTo>
                    <a:pt x="487" y="885"/>
                    <a:pt x="547" y="856"/>
                    <a:pt x="598" y="817"/>
                  </a:cubicBezTo>
                  <a:cubicBezTo>
                    <a:pt x="649" y="777"/>
                    <a:pt x="689" y="728"/>
                    <a:pt x="719" y="670"/>
                  </a:cubicBezTo>
                  <a:cubicBezTo>
                    <a:pt x="748" y="612"/>
                    <a:pt x="763" y="544"/>
                    <a:pt x="763" y="466"/>
                  </a:cubicBezTo>
                  <a:lnTo>
                    <a:pt x="763" y="462"/>
                  </a:lnTo>
                  <a:cubicBezTo>
                    <a:pt x="763" y="394"/>
                    <a:pt x="750" y="331"/>
                    <a:pt x="726" y="275"/>
                  </a:cubicBezTo>
                  <a:close/>
                </a:path>
              </a:pathLst>
            </a:custGeom>
            <a:solidFill>
              <a:srgbClr val="FBC8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2">
              <a:extLst>
                <a:ext uri="{FF2B5EF4-FFF2-40B4-BE49-F238E27FC236}">
                  <a16:creationId xmlns:a16="http://schemas.microsoft.com/office/drawing/2014/main" id="{90550948-C0FE-1BED-8544-FF258FC320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5" y="356"/>
              <a:ext cx="29" cy="38"/>
            </a:xfrm>
            <a:custGeom>
              <a:avLst/>
              <a:gdLst>
                <a:gd name="T0" fmla="*/ 118 w 238"/>
                <a:gd name="T1" fmla="*/ 152 h 302"/>
                <a:gd name="T2" fmla="*/ 157 w 238"/>
                <a:gd name="T3" fmla="*/ 139 h 302"/>
                <a:gd name="T4" fmla="*/ 171 w 238"/>
                <a:gd name="T5" fmla="*/ 106 h 302"/>
                <a:gd name="T6" fmla="*/ 171 w 238"/>
                <a:gd name="T7" fmla="*/ 106 h 302"/>
                <a:gd name="T8" fmla="*/ 157 w 238"/>
                <a:gd name="T9" fmla="*/ 72 h 302"/>
                <a:gd name="T10" fmla="*/ 117 w 238"/>
                <a:gd name="T11" fmla="*/ 60 h 302"/>
                <a:gd name="T12" fmla="*/ 66 w 238"/>
                <a:gd name="T13" fmla="*/ 60 h 302"/>
                <a:gd name="T14" fmla="*/ 66 w 238"/>
                <a:gd name="T15" fmla="*/ 152 h 302"/>
                <a:gd name="T16" fmla="*/ 118 w 238"/>
                <a:gd name="T17" fmla="*/ 152 h 302"/>
                <a:gd name="T18" fmla="*/ 0 w 238"/>
                <a:gd name="T19" fmla="*/ 0 h 302"/>
                <a:gd name="T20" fmla="*/ 123 w 238"/>
                <a:gd name="T21" fmla="*/ 0 h 302"/>
                <a:gd name="T22" fmla="*/ 171 w 238"/>
                <a:gd name="T23" fmla="*/ 8 h 302"/>
                <a:gd name="T24" fmla="*/ 207 w 238"/>
                <a:gd name="T25" fmla="*/ 29 h 302"/>
                <a:gd name="T26" fmla="*/ 230 w 238"/>
                <a:gd name="T27" fmla="*/ 62 h 302"/>
                <a:gd name="T28" fmla="*/ 238 w 238"/>
                <a:gd name="T29" fmla="*/ 104 h 302"/>
                <a:gd name="T30" fmla="*/ 238 w 238"/>
                <a:gd name="T31" fmla="*/ 105 h 302"/>
                <a:gd name="T32" fmla="*/ 229 w 238"/>
                <a:gd name="T33" fmla="*/ 151 h 302"/>
                <a:gd name="T34" fmla="*/ 203 w 238"/>
                <a:gd name="T35" fmla="*/ 184 h 302"/>
                <a:gd name="T36" fmla="*/ 164 w 238"/>
                <a:gd name="T37" fmla="*/ 204 h 302"/>
                <a:gd name="T38" fmla="*/ 116 w 238"/>
                <a:gd name="T39" fmla="*/ 211 h 302"/>
                <a:gd name="T40" fmla="*/ 66 w 238"/>
                <a:gd name="T41" fmla="*/ 211 h 302"/>
                <a:gd name="T42" fmla="*/ 66 w 238"/>
                <a:gd name="T43" fmla="*/ 302 h 302"/>
                <a:gd name="T44" fmla="*/ 0 w 238"/>
                <a:gd name="T45" fmla="*/ 302 h 302"/>
                <a:gd name="T46" fmla="*/ 0 w 238"/>
                <a:gd name="T4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8" h="302">
                  <a:moveTo>
                    <a:pt x="118" y="152"/>
                  </a:moveTo>
                  <a:cubicBezTo>
                    <a:pt x="135" y="152"/>
                    <a:pt x="148" y="148"/>
                    <a:pt x="157" y="139"/>
                  </a:cubicBezTo>
                  <a:cubicBezTo>
                    <a:pt x="166" y="130"/>
                    <a:pt x="171" y="119"/>
                    <a:pt x="171" y="106"/>
                  </a:cubicBezTo>
                  <a:lnTo>
                    <a:pt x="171" y="106"/>
                  </a:lnTo>
                  <a:cubicBezTo>
                    <a:pt x="171" y="91"/>
                    <a:pt x="166" y="79"/>
                    <a:pt x="157" y="72"/>
                  </a:cubicBezTo>
                  <a:cubicBezTo>
                    <a:pt x="147" y="64"/>
                    <a:pt x="134" y="60"/>
                    <a:pt x="117" y="60"/>
                  </a:cubicBezTo>
                  <a:lnTo>
                    <a:pt x="66" y="60"/>
                  </a:lnTo>
                  <a:lnTo>
                    <a:pt x="66" y="152"/>
                  </a:lnTo>
                  <a:lnTo>
                    <a:pt x="118" y="152"/>
                  </a:lnTo>
                  <a:close/>
                  <a:moveTo>
                    <a:pt x="0" y="0"/>
                  </a:moveTo>
                  <a:lnTo>
                    <a:pt x="123" y="0"/>
                  </a:lnTo>
                  <a:cubicBezTo>
                    <a:pt x="141" y="0"/>
                    <a:pt x="157" y="3"/>
                    <a:pt x="171" y="8"/>
                  </a:cubicBezTo>
                  <a:cubicBezTo>
                    <a:pt x="185" y="13"/>
                    <a:pt x="197" y="20"/>
                    <a:pt x="207" y="29"/>
                  </a:cubicBezTo>
                  <a:cubicBezTo>
                    <a:pt x="217" y="38"/>
                    <a:pt x="225" y="49"/>
                    <a:pt x="230" y="62"/>
                  </a:cubicBezTo>
                  <a:cubicBezTo>
                    <a:pt x="236" y="75"/>
                    <a:pt x="238" y="89"/>
                    <a:pt x="238" y="104"/>
                  </a:cubicBezTo>
                  <a:lnTo>
                    <a:pt x="238" y="105"/>
                  </a:lnTo>
                  <a:cubicBezTo>
                    <a:pt x="238" y="123"/>
                    <a:pt x="235" y="138"/>
                    <a:pt x="229" y="151"/>
                  </a:cubicBezTo>
                  <a:cubicBezTo>
                    <a:pt x="222" y="164"/>
                    <a:pt x="214" y="175"/>
                    <a:pt x="203" y="184"/>
                  </a:cubicBezTo>
                  <a:cubicBezTo>
                    <a:pt x="192" y="193"/>
                    <a:pt x="179" y="200"/>
                    <a:pt x="164" y="204"/>
                  </a:cubicBezTo>
                  <a:cubicBezTo>
                    <a:pt x="149" y="209"/>
                    <a:pt x="133" y="211"/>
                    <a:pt x="116" y="211"/>
                  </a:cubicBezTo>
                  <a:lnTo>
                    <a:pt x="66" y="211"/>
                  </a:lnTo>
                  <a:lnTo>
                    <a:pt x="66" y="302"/>
                  </a:lnTo>
                  <a:lnTo>
                    <a:pt x="0" y="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4" name="Rectangle 13">
              <a:extLst>
                <a:ext uri="{FF2B5EF4-FFF2-40B4-BE49-F238E27FC236}">
                  <a16:creationId xmlns:a16="http://schemas.microsoft.com/office/drawing/2014/main" id="{B25E9888-E448-8493-CB5F-4D9BD4407E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0" y="354"/>
              <a:ext cx="8" cy="40"/>
            </a:xfrm>
            <a:prstGeom prst="rect">
              <a:avLst/>
            </a:pr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" name="Freeform 14">
              <a:extLst>
                <a:ext uri="{FF2B5EF4-FFF2-40B4-BE49-F238E27FC236}">
                  <a16:creationId xmlns:a16="http://schemas.microsoft.com/office/drawing/2014/main" id="{449D5243-0F7A-314E-BFA2-106AAFFAA9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" y="364"/>
              <a:ext cx="26" cy="31"/>
            </a:xfrm>
            <a:custGeom>
              <a:avLst/>
              <a:gdLst>
                <a:gd name="T0" fmla="*/ 99 w 212"/>
                <a:gd name="T1" fmla="*/ 193 h 238"/>
                <a:gd name="T2" fmla="*/ 136 w 212"/>
                <a:gd name="T3" fmla="*/ 181 h 238"/>
                <a:gd name="T4" fmla="*/ 150 w 212"/>
                <a:gd name="T5" fmla="*/ 152 h 238"/>
                <a:gd name="T6" fmla="*/ 150 w 212"/>
                <a:gd name="T7" fmla="*/ 141 h 238"/>
                <a:gd name="T8" fmla="*/ 131 w 212"/>
                <a:gd name="T9" fmla="*/ 134 h 238"/>
                <a:gd name="T10" fmla="*/ 108 w 212"/>
                <a:gd name="T11" fmla="*/ 132 h 238"/>
                <a:gd name="T12" fmla="*/ 75 w 212"/>
                <a:gd name="T13" fmla="*/ 140 h 238"/>
                <a:gd name="T14" fmla="*/ 63 w 212"/>
                <a:gd name="T15" fmla="*/ 164 h 238"/>
                <a:gd name="T16" fmla="*/ 63 w 212"/>
                <a:gd name="T17" fmla="*/ 165 h 238"/>
                <a:gd name="T18" fmla="*/ 73 w 212"/>
                <a:gd name="T19" fmla="*/ 185 h 238"/>
                <a:gd name="T20" fmla="*/ 99 w 212"/>
                <a:gd name="T21" fmla="*/ 193 h 238"/>
                <a:gd name="T22" fmla="*/ 79 w 212"/>
                <a:gd name="T23" fmla="*/ 238 h 238"/>
                <a:gd name="T24" fmla="*/ 48 w 212"/>
                <a:gd name="T25" fmla="*/ 233 h 238"/>
                <a:gd name="T26" fmla="*/ 23 w 212"/>
                <a:gd name="T27" fmla="*/ 220 h 238"/>
                <a:gd name="T28" fmla="*/ 6 w 212"/>
                <a:gd name="T29" fmla="*/ 198 h 238"/>
                <a:gd name="T30" fmla="*/ 0 w 212"/>
                <a:gd name="T31" fmla="*/ 167 h 238"/>
                <a:gd name="T32" fmla="*/ 0 w 212"/>
                <a:gd name="T33" fmla="*/ 166 h 238"/>
                <a:gd name="T34" fmla="*/ 7 w 212"/>
                <a:gd name="T35" fmla="*/ 134 h 238"/>
                <a:gd name="T36" fmla="*/ 26 w 212"/>
                <a:gd name="T37" fmla="*/ 111 h 238"/>
                <a:gd name="T38" fmla="*/ 55 w 212"/>
                <a:gd name="T39" fmla="*/ 97 h 238"/>
                <a:gd name="T40" fmla="*/ 93 w 212"/>
                <a:gd name="T41" fmla="*/ 93 h 238"/>
                <a:gd name="T42" fmla="*/ 124 w 212"/>
                <a:gd name="T43" fmla="*/ 95 h 238"/>
                <a:gd name="T44" fmla="*/ 149 w 212"/>
                <a:gd name="T45" fmla="*/ 102 h 238"/>
                <a:gd name="T46" fmla="*/ 149 w 212"/>
                <a:gd name="T47" fmla="*/ 98 h 238"/>
                <a:gd name="T48" fmla="*/ 137 w 212"/>
                <a:gd name="T49" fmla="*/ 67 h 238"/>
                <a:gd name="T50" fmla="*/ 100 w 212"/>
                <a:gd name="T51" fmla="*/ 56 h 238"/>
                <a:gd name="T52" fmla="*/ 66 w 212"/>
                <a:gd name="T53" fmla="*/ 59 h 238"/>
                <a:gd name="T54" fmla="*/ 36 w 212"/>
                <a:gd name="T55" fmla="*/ 69 h 238"/>
                <a:gd name="T56" fmla="*/ 20 w 212"/>
                <a:gd name="T57" fmla="*/ 19 h 238"/>
                <a:gd name="T58" fmla="*/ 59 w 212"/>
                <a:gd name="T59" fmla="*/ 5 h 238"/>
                <a:gd name="T60" fmla="*/ 109 w 212"/>
                <a:gd name="T61" fmla="*/ 0 h 238"/>
                <a:gd name="T62" fmla="*/ 155 w 212"/>
                <a:gd name="T63" fmla="*/ 7 h 238"/>
                <a:gd name="T64" fmla="*/ 187 w 212"/>
                <a:gd name="T65" fmla="*/ 26 h 238"/>
                <a:gd name="T66" fmla="*/ 206 w 212"/>
                <a:gd name="T67" fmla="*/ 58 h 238"/>
                <a:gd name="T68" fmla="*/ 212 w 212"/>
                <a:gd name="T69" fmla="*/ 100 h 238"/>
                <a:gd name="T70" fmla="*/ 212 w 212"/>
                <a:gd name="T71" fmla="*/ 234 h 238"/>
                <a:gd name="T72" fmla="*/ 149 w 212"/>
                <a:gd name="T73" fmla="*/ 234 h 238"/>
                <a:gd name="T74" fmla="*/ 149 w 212"/>
                <a:gd name="T75" fmla="*/ 209 h 238"/>
                <a:gd name="T76" fmla="*/ 120 w 212"/>
                <a:gd name="T77" fmla="*/ 230 h 238"/>
                <a:gd name="T78" fmla="*/ 79 w 212"/>
                <a:gd name="T7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2" h="238">
                  <a:moveTo>
                    <a:pt x="99" y="193"/>
                  </a:moveTo>
                  <a:cubicBezTo>
                    <a:pt x="114" y="193"/>
                    <a:pt x="127" y="189"/>
                    <a:pt x="136" y="181"/>
                  </a:cubicBezTo>
                  <a:cubicBezTo>
                    <a:pt x="145" y="174"/>
                    <a:pt x="150" y="164"/>
                    <a:pt x="150" y="152"/>
                  </a:cubicBezTo>
                  <a:lnTo>
                    <a:pt x="150" y="141"/>
                  </a:lnTo>
                  <a:cubicBezTo>
                    <a:pt x="144" y="138"/>
                    <a:pt x="138" y="136"/>
                    <a:pt x="131" y="134"/>
                  </a:cubicBezTo>
                  <a:cubicBezTo>
                    <a:pt x="124" y="133"/>
                    <a:pt x="116" y="132"/>
                    <a:pt x="108" y="132"/>
                  </a:cubicBezTo>
                  <a:cubicBezTo>
                    <a:pt x="94" y="132"/>
                    <a:pt x="83" y="135"/>
                    <a:pt x="75" y="140"/>
                  </a:cubicBezTo>
                  <a:cubicBezTo>
                    <a:pt x="67" y="146"/>
                    <a:pt x="63" y="153"/>
                    <a:pt x="63" y="164"/>
                  </a:cubicBezTo>
                  <a:lnTo>
                    <a:pt x="63" y="165"/>
                  </a:lnTo>
                  <a:cubicBezTo>
                    <a:pt x="63" y="174"/>
                    <a:pt x="66" y="180"/>
                    <a:pt x="73" y="185"/>
                  </a:cubicBezTo>
                  <a:cubicBezTo>
                    <a:pt x="80" y="190"/>
                    <a:pt x="88" y="193"/>
                    <a:pt x="99" y="193"/>
                  </a:cubicBezTo>
                  <a:close/>
                  <a:moveTo>
                    <a:pt x="79" y="238"/>
                  </a:moveTo>
                  <a:cubicBezTo>
                    <a:pt x="68" y="238"/>
                    <a:pt x="58" y="236"/>
                    <a:pt x="48" y="233"/>
                  </a:cubicBezTo>
                  <a:cubicBezTo>
                    <a:pt x="39" y="230"/>
                    <a:pt x="30" y="226"/>
                    <a:pt x="23" y="220"/>
                  </a:cubicBezTo>
                  <a:cubicBezTo>
                    <a:pt x="16" y="214"/>
                    <a:pt x="10" y="206"/>
                    <a:pt x="6" y="198"/>
                  </a:cubicBezTo>
                  <a:cubicBezTo>
                    <a:pt x="2" y="189"/>
                    <a:pt x="0" y="179"/>
                    <a:pt x="0" y="167"/>
                  </a:cubicBezTo>
                  <a:lnTo>
                    <a:pt x="0" y="166"/>
                  </a:lnTo>
                  <a:cubicBezTo>
                    <a:pt x="0" y="154"/>
                    <a:pt x="2" y="143"/>
                    <a:pt x="7" y="134"/>
                  </a:cubicBezTo>
                  <a:cubicBezTo>
                    <a:pt x="11" y="124"/>
                    <a:pt x="18" y="117"/>
                    <a:pt x="26" y="111"/>
                  </a:cubicBezTo>
                  <a:cubicBezTo>
                    <a:pt x="34" y="105"/>
                    <a:pt x="44" y="100"/>
                    <a:pt x="55" y="97"/>
                  </a:cubicBezTo>
                  <a:cubicBezTo>
                    <a:pt x="66" y="94"/>
                    <a:pt x="79" y="93"/>
                    <a:pt x="93" y="93"/>
                  </a:cubicBezTo>
                  <a:cubicBezTo>
                    <a:pt x="105" y="93"/>
                    <a:pt x="115" y="94"/>
                    <a:pt x="124" y="95"/>
                  </a:cubicBezTo>
                  <a:cubicBezTo>
                    <a:pt x="132" y="97"/>
                    <a:pt x="141" y="99"/>
                    <a:pt x="149" y="102"/>
                  </a:cubicBezTo>
                  <a:lnTo>
                    <a:pt x="149" y="98"/>
                  </a:lnTo>
                  <a:cubicBezTo>
                    <a:pt x="149" y="85"/>
                    <a:pt x="145" y="74"/>
                    <a:pt x="137" y="67"/>
                  </a:cubicBezTo>
                  <a:cubicBezTo>
                    <a:pt x="128" y="60"/>
                    <a:pt x="116" y="56"/>
                    <a:pt x="100" y="56"/>
                  </a:cubicBezTo>
                  <a:cubicBezTo>
                    <a:pt x="87" y="56"/>
                    <a:pt x="76" y="57"/>
                    <a:pt x="66" y="59"/>
                  </a:cubicBezTo>
                  <a:cubicBezTo>
                    <a:pt x="57" y="61"/>
                    <a:pt x="47" y="65"/>
                    <a:pt x="36" y="69"/>
                  </a:cubicBezTo>
                  <a:lnTo>
                    <a:pt x="20" y="19"/>
                  </a:lnTo>
                  <a:cubicBezTo>
                    <a:pt x="32" y="13"/>
                    <a:pt x="45" y="9"/>
                    <a:pt x="59" y="5"/>
                  </a:cubicBezTo>
                  <a:cubicBezTo>
                    <a:pt x="73" y="2"/>
                    <a:pt x="90" y="0"/>
                    <a:pt x="109" y="0"/>
                  </a:cubicBezTo>
                  <a:cubicBezTo>
                    <a:pt x="127" y="0"/>
                    <a:pt x="143" y="2"/>
                    <a:pt x="155" y="7"/>
                  </a:cubicBezTo>
                  <a:cubicBezTo>
                    <a:pt x="168" y="11"/>
                    <a:pt x="179" y="18"/>
                    <a:pt x="187" y="26"/>
                  </a:cubicBezTo>
                  <a:cubicBezTo>
                    <a:pt x="196" y="35"/>
                    <a:pt x="202" y="45"/>
                    <a:pt x="206" y="58"/>
                  </a:cubicBezTo>
                  <a:cubicBezTo>
                    <a:pt x="210" y="70"/>
                    <a:pt x="212" y="84"/>
                    <a:pt x="212" y="100"/>
                  </a:cubicBezTo>
                  <a:lnTo>
                    <a:pt x="212" y="234"/>
                  </a:lnTo>
                  <a:lnTo>
                    <a:pt x="149" y="234"/>
                  </a:lnTo>
                  <a:lnTo>
                    <a:pt x="149" y="209"/>
                  </a:lnTo>
                  <a:cubicBezTo>
                    <a:pt x="141" y="217"/>
                    <a:pt x="131" y="225"/>
                    <a:pt x="120" y="230"/>
                  </a:cubicBezTo>
                  <a:cubicBezTo>
                    <a:pt x="109" y="235"/>
                    <a:pt x="95" y="238"/>
                    <a:pt x="79" y="2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6" name="Freeform 15">
              <a:extLst>
                <a:ext uri="{FF2B5EF4-FFF2-40B4-BE49-F238E27FC236}">
                  <a16:creationId xmlns:a16="http://schemas.microsoft.com/office/drawing/2014/main" id="{89E7C77E-F5EA-B359-0691-211543C83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7" y="364"/>
              <a:ext cx="27" cy="30"/>
            </a:xfrm>
            <a:custGeom>
              <a:avLst/>
              <a:gdLst>
                <a:gd name="T0" fmla="*/ 0 w 211"/>
                <a:gd name="T1" fmla="*/ 5 h 236"/>
                <a:gd name="T2" fmla="*/ 65 w 211"/>
                <a:gd name="T3" fmla="*/ 5 h 236"/>
                <a:gd name="T4" fmla="*/ 65 w 211"/>
                <a:gd name="T5" fmla="*/ 38 h 236"/>
                <a:gd name="T6" fmla="*/ 77 w 211"/>
                <a:gd name="T7" fmla="*/ 24 h 236"/>
                <a:gd name="T8" fmla="*/ 92 w 211"/>
                <a:gd name="T9" fmla="*/ 12 h 236"/>
                <a:gd name="T10" fmla="*/ 110 w 211"/>
                <a:gd name="T11" fmla="*/ 3 h 236"/>
                <a:gd name="T12" fmla="*/ 133 w 211"/>
                <a:gd name="T13" fmla="*/ 0 h 236"/>
                <a:gd name="T14" fmla="*/ 191 w 211"/>
                <a:gd name="T15" fmla="*/ 23 h 236"/>
                <a:gd name="T16" fmla="*/ 211 w 211"/>
                <a:gd name="T17" fmla="*/ 86 h 236"/>
                <a:gd name="T18" fmla="*/ 211 w 211"/>
                <a:gd name="T19" fmla="*/ 236 h 236"/>
                <a:gd name="T20" fmla="*/ 146 w 211"/>
                <a:gd name="T21" fmla="*/ 236 h 236"/>
                <a:gd name="T22" fmla="*/ 146 w 211"/>
                <a:gd name="T23" fmla="*/ 107 h 236"/>
                <a:gd name="T24" fmla="*/ 135 w 211"/>
                <a:gd name="T25" fmla="*/ 72 h 236"/>
                <a:gd name="T26" fmla="*/ 106 w 211"/>
                <a:gd name="T27" fmla="*/ 60 h 236"/>
                <a:gd name="T28" fmla="*/ 76 w 211"/>
                <a:gd name="T29" fmla="*/ 72 h 236"/>
                <a:gd name="T30" fmla="*/ 65 w 211"/>
                <a:gd name="T31" fmla="*/ 107 h 236"/>
                <a:gd name="T32" fmla="*/ 65 w 211"/>
                <a:gd name="T33" fmla="*/ 236 h 236"/>
                <a:gd name="T34" fmla="*/ 0 w 211"/>
                <a:gd name="T35" fmla="*/ 236 h 236"/>
                <a:gd name="T36" fmla="*/ 0 w 211"/>
                <a:gd name="T37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1" h="236">
                  <a:moveTo>
                    <a:pt x="0" y="5"/>
                  </a:moveTo>
                  <a:lnTo>
                    <a:pt x="65" y="5"/>
                  </a:lnTo>
                  <a:lnTo>
                    <a:pt x="65" y="38"/>
                  </a:lnTo>
                  <a:cubicBezTo>
                    <a:pt x="69" y="33"/>
                    <a:pt x="73" y="28"/>
                    <a:pt x="77" y="24"/>
                  </a:cubicBezTo>
                  <a:cubicBezTo>
                    <a:pt x="82" y="19"/>
                    <a:pt x="87" y="15"/>
                    <a:pt x="92" y="12"/>
                  </a:cubicBezTo>
                  <a:cubicBezTo>
                    <a:pt x="98" y="8"/>
                    <a:pt x="104" y="5"/>
                    <a:pt x="110" y="3"/>
                  </a:cubicBezTo>
                  <a:cubicBezTo>
                    <a:pt x="117" y="1"/>
                    <a:pt x="124" y="0"/>
                    <a:pt x="133" y="0"/>
                  </a:cubicBezTo>
                  <a:cubicBezTo>
                    <a:pt x="158" y="0"/>
                    <a:pt x="177" y="8"/>
                    <a:pt x="191" y="23"/>
                  </a:cubicBezTo>
                  <a:cubicBezTo>
                    <a:pt x="204" y="38"/>
                    <a:pt x="211" y="59"/>
                    <a:pt x="211" y="86"/>
                  </a:cubicBezTo>
                  <a:lnTo>
                    <a:pt x="211" y="236"/>
                  </a:lnTo>
                  <a:lnTo>
                    <a:pt x="146" y="236"/>
                  </a:lnTo>
                  <a:lnTo>
                    <a:pt x="146" y="107"/>
                  </a:lnTo>
                  <a:cubicBezTo>
                    <a:pt x="146" y="92"/>
                    <a:pt x="142" y="80"/>
                    <a:pt x="135" y="72"/>
                  </a:cubicBezTo>
                  <a:cubicBezTo>
                    <a:pt x="128" y="64"/>
                    <a:pt x="119" y="60"/>
                    <a:pt x="106" y="60"/>
                  </a:cubicBezTo>
                  <a:cubicBezTo>
                    <a:pt x="93" y="60"/>
                    <a:pt x="83" y="64"/>
                    <a:pt x="76" y="72"/>
                  </a:cubicBezTo>
                  <a:cubicBezTo>
                    <a:pt x="69" y="80"/>
                    <a:pt x="65" y="92"/>
                    <a:pt x="65" y="107"/>
                  </a:cubicBezTo>
                  <a:lnTo>
                    <a:pt x="65" y="236"/>
                  </a:lnTo>
                  <a:lnTo>
                    <a:pt x="0" y="236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" name="Freeform 16">
              <a:extLst>
                <a:ext uri="{FF2B5EF4-FFF2-40B4-BE49-F238E27FC236}">
                  <a16:creationId xmlns:a16="http://schemas.microsoft.com/office/drawing/2014/main" id="{85C4FFF7-F9BB-128A-E037-E87F8FFD56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5" y="354"/>
              <a:ext cx="30" cy="41"/>
            </a:xfrm>
            <a:custGeom>
              <a:avLst/>
              <a:gdLst>
                <a:gd name="T0" fmla="*/ 122 w 242"/>
                <a:gd name="T1" fmla="*/ 263 h 319"/>
                <a:gd name="T2" fmla="*/ 144 w 242"/>
                <a:gd name="T3" fmla="*/ 259 h 319"/>
                <a:gd name="T4" fmla="*/ 161 w 242"/>
                <a:gd name="T5" fmla="*/ 246 h 319"/>
                <a:gd name="T6" fmla="*/ 173 w 242"/>
                <a:gd name="T7" fmla="*/ 226 h 319"/>
                <a:gd name="T8" fmla="*/ 178 w 242"/>
                <a:gd name="T9" fmla="*/ 200 h 319"/>
                <a:gd name="T10" fmla="*/ 178 w 242"/>
                <a:gd name="T11" fmla="*/ 199 h 319"/>
                <a:gd name="T12" fmla="*/ 173 w 242"/>
                <a:gd name="T13" fmla="*/ 173 h 319"/>
                <a:gd name="T14" fmla="*/ 161 w 242"/>
                <a:gd name="T15" fmla="*/ 152 h 319"/>
                <a:gd name="T16" fmla="*/ 144 w 242"/>
                <a:gd name="T17" fmla="*/ 139 h 319"/>
                <a:gd name="T18" fmla="*/ 122 w 242"/>
                <a:gd name="T19" fmla="*/ 135 h 319"/>
                <a:gd name="T20" fmla="*/ 100 w 242"/>
                <a:gd name="T21" fmla="*/ 139 h 319"/>
                <a:gd name="T22" fmla="*/ 82 w 242"/>
                <a:gd name="T23" fmla="*/ 152 h 319"/>
                <a:gd name="T24" fmla="*/ 70 w 242"/>
                <a:gd name="T25" fmla="*/ 172 h 319"/>
                <a:gd name="T26" fmla="*/ 65 w 242"/>
                <a:gd name="T27" fmla="*/ 199 h 319"/>
                <a:gd name="T28" fmla="*/ 65 w 242"/>
                <a:gd name="T29" fmla="*/ 200 h 319"/>
                <a:gd name="T30" fmla="*/ 70 w 242"/>
                <a:gd name="T31" fmla="*/ 226 h 319"/>
                <a:gd name="T32" fmla="*/ 82 w 242"/>
                <a:gd name="T33" fmla="*/ 246 h 319"/>
                <a:gd name="T34" fmla="*/ 100 w 242"/>
                <a:gd name="T35" fmla="*/ 259 h 319"/>
                <a:gd name="T36" fmla="*/ 122 w 242"/>
                <a:gd name="T37" fmla="*/ 263 h 319"/>
                <a:gd name="T38" fmla="*/ 105 w 242"/>
                <a:gd name="T39" fmla="*/ 319 h 319"/>
                <a:gd name="T40" fmla="*/ 66 w 242"/>
                <a:gd name="T41" fmla="*/ 311 h 319"/>
                <a:gd name="T42" fmla="*/ 32 w 242"/>
                <a:gd name="T43" fmla="*/ 288 h 319"/>
                <a:gd name="T44" fmla="*/ 9 w 242"/>
                <a:gd name="T45" fmla="*/ 251 h 319"/>
                <a:gd name="T46" fmla="*/ 0 w 242"/>
                <a:gd name="T47" fmla="*/ 200 h 319"/>
                <a:gd name="T48" fmla="*/ 0 w 242"/>
                <a:gd name="T49" fmla="*/ 199 h 319"/>
                <a:gd name="T50" fmla="*/ 9 w 242"/>
                <a:gd name="T51" fmla="*/ 148 h 319"/>
                <a:gd name="T52" fmla="*/ 32 w 242"/>
                <a:gd name="T53" fmla="*/ 110 h 319"/>
                <a:gd name="T54" fmla="*/ 65 w 242"/>
                <a:gd name="T55" fmla="*/ 87 h 319"/>
                <a:gd name="T56" fmla="*/ 105 w 242"/>
                <a:gd name="T57" fmla="*/ 79 h 319"/>
                <a:gd name="T58" fmla="*/ 148 w 242"/>
                <a:gd name="T59" fmla="*/ 90 h 319"/>
                <a:gd name="T60" fmla="*/ 177 w 242"/>
                <a:gd name="T61" fmla="*/ 114 h 319"/>
                <a:gd name="T62" fmla="*/ 177 w 242"/>
                <a:gd name="T63" fmla="*/ 0 h 319"/>
                <a:gd name="T64" fmla="*/ 242 w 242"/>
                <a:gd name="T65" fmla="*/ 0 h 319"/>
                <a:gd name="T66" fmla="*/ 242 w 242"/>
                <a:gd name="T67" fmla="*/ 315 h 319"/>
                <a:gd name="T68" fmla="*/ 177 w 242"/>
                <a:gd name="T69" fmla="*/ 315 h 319"/>
                <a:gd name="T70" fmla="*/ 177 w 242"/>
                <a:gd name="T71" fmla="*/ 281 h 319"/>
                <a:gd name="T72" fmla="*/ 148 w 242"/>
                <a:gd name="T73" fmla="*/ 308 h 319"/>
                <a:gd name="T74" fmla="*/ 105 w 242"/>
                <a:gd name="T75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2" h="319">
                  <a:moveTo>
                    <a:pt x="122" y="263"/>
                  </a:moveTo>
                  <a:cubicBezTo>
                    <a:pt x="130" y="263"/>
                    <a:pt x="137" y="262"/>
                    <a:pt x="144" y="259"/>
                  </a:cubicBezTo>
                  <a:cubicBezTo>
                    <a:pt x="150" y="256"/>
                    <a:pt x="156" y="251"/>
                    <a:pt x="161" y="246"/>
                  </a:cubicBezTo>
                  <a:cubicBezTo>
                    <a:pt x="166" y="240"/>
                    <a:pt x="170" y="234"/>
                    <a:pt x="173" y="226"/>
                  </a:cubicBezTo>
                  <a:cubicBezTo>
                    <a:pt x="176" y="218"/>
                    <a:pt x="178" y="209"/>
                    <a:pt x="178" y="200"/>
                  </a:cubicBezTo>
                  <a:lnTo>
                    <a:pt x="178" y="199"/>
                  </a:lnTo>
                  <a:cubicBezTo>
                    <a:pt x="178" y="189"/>
                    <a:pt x="176" y="181"/>
                    <a:pt x="173" y="173"/>
                  </a:cubicBezTo>
                  <a:cubicBezTo>
                    <a:pt x="170" y="165"/>
                    <a:pt x="166" y="158"/>
                    <a:pt x="161" y="152"/>
                  </a:cubicBezTo>
                  <a:cubicBezTo>
                    <a:pt x="156" y="147"/>
                    <a:pt x="150" y="142"/>
                    <a:pt x="144" y="139"/>
                  </a:cubicBezTo>
                  <a:cubicBezTo>
                    <a:pt x="137" y="136"/>
                    <a:pt x="130" y="135"/>
                    <a:pt x="122" y="135"/>
                  </a:cubicBezTo>
                  <a:cubicBezTo>
                    <a:pt x="114" y="135"/>
                    <a:pt x="107" y="136"/>
                    <a:pt x="100" y="139"/>
                  </a:cubicBezTo>
                  <a:cubicBezTo>
                    <a:pt x="93" y="142"/>
                    <a:pt x="87" y="147"/>
                    <a:pt x="82" y="152"/>
                  </a:cubicBezTo>
                  <a:cubicBezTo>
                    <a:pt x="77" y="158"/>
                    <a:pt x="73" y="165"/>
                    <a:pt x="70" y="172"/>
                  </a:cubicBezTo>
                  <a:cubicBezTo>
                    <a:pt x="67" y="180"/>
                    <a:pt x="65" y="189"/>
                    <a:pt x="65" y="199"/>
                  </a:cubicBezTo>
                  <a:lnTo>
                    <a:pt x="65" y="200"/>
                  </a:lnTo>
                  <a:cubicBezTo>
                    <a:pt x="65" y="209"/>
                    <a:pt x="67" y="218"/>
                    <a:pt x="70" y="226"/>
                  </a:cubicBezTo>
                  <a:cubicBezTo>
                    <a:pt x="73" y="234"/>
                    <a:pt x="77" y="240"/>
                    <a:pt x="82" y="246"/>
                  </a:cubicBezTo>
                  <a:cubicBezTo>
                    <a:pt x="87" y="251"/>
                    <a:pt x="93" y="256"/>
                    <a:pt x="100" y="259"/>
                  </a:cubicBezTo>
                  <a:cubicBezTo>
                    <a:pt x="107" y="262"/>
                    <a:pt x="114" y="263"/>
                    <a:pt x="122" y="263"/>
                  </a:cubicBezTo>
                  <a:close/>
                  <a:moveTo>
                    <a:pt x="105" y="319"/>
                  </a:moveTo>
                  <a:cubicBezTo>
                    <a:pt x="91" y="319"/>
                    <a:pt x="78" y="316"/>
                    <a:pt x="66" y="311"/>
                  </a:cubicBezTo>
                  <a:cubicBezTo>
                    <a:pt x="53" y="306"/>
                    <a:pt x="42" y="298"/>
                    <a:pt x="32" y="288"/>
                  </a:cubicBezTo>
                  <a:cubicBezTo>
                    <a:pt x="22" y="278"/>
                    <a:pt x="15" y="265"/>
                    <a:pt x="9" y="251"/>
                  </a:cubicBezTo>
                  <a:cubicBezTo>
                    <a:pt x="3" y="236"/>
                    <a:pt x="0" y="219"/>
                    <a:pt x="0" y="200"/>
                  </a:cubicBezTo>
                  <a:lnTo>
                    <a:pt x="0" y="199"/>
                  </a:lnTo>
                  <a:cubicBezTo>
                    <a:pt x="0" y="179"/>
                    <a:pt x="3" y="162"/>
                    <a:pt x="9" y="148"/>
                  </a:cubicBezTo>
                  <a:cubicBezTo>
                    <a:pt x="15" y="133"/>
                    <a:pt x="22" y="120"/>
                    <a:pt x="32" y="110"/>
                  </a:cubicBezTo>
                  <a:cubicBezTo>
                    <a:pt x="42" y="100"/>
                    <a:pt x="53" y="92"/>
                    <a:pt x="65" y="87"/>
                  </a:cubicBezTo>
                  <a:cubicBezTo>
                    <a:pt x="78" y="82"/>
                    <a:pt x="91" y="79"/>
                    <a:pt x="105" y="79"/>
                  </a:cubicBezTo>
                  <a:cubicBezTo>
                    <a:pt x="122" y="79"/>
                    <a:pt x="137" y="83"/>
                    <a:pt x="148" y="90"/>
                  </a:cubicBezTo>
                  <a:cubicBezTo>
                    <a:pt x="160" y="97"/>
                    <a:pt x="169" y="105"/>
                    <a:pt x="177" y="114"/>
                  </a:cubicBezTo>
                  <a:lnTo>
                    <a:pt x="177" y="0"/>
                  </a:lnTo>
                  <a:lnTo>
                    <a:pt x="242" y="0"/>
                  </a:lnTo>
                  <a:lnTo>
                    <a:pt x="242" y="315"/>
                  </a:lnTo>
                  <a:lnTo>
                    <a:pt x="177" y="315"/>
                  </a:lnTo>
                  <a:lnTo>
                    <a:pt x="177" y="281"/>
                  </a:lnTo>
                  <a:cubicBezTo>
                    <a:pt x="169" y="292"/>
                    <a:pt x="159" y="301"/>
                    <a:pt x="148" y="308"/>
                  </a:cubicBezTo>
                  <a:cubicBezTo>
                    <a:pt x="136" y="315"/>
                    <a:pt x="122" y="319"/>
                    <a:pt x="105" y="319"/>
                  </a:cubicBez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8" name="Freeform 17">
              <a:extLst>
                <a:ext uri="{FF2B5EF4-FFF2-40B4-BE49-F238E27FC236}">
                  <a16:creationId xmlns:a16="http://schemas.microsoft.com/office/drawing/2014/main" id="{BE21ADFE-B340-86D1-7F59-438CC949A0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1" y="364"/>
              <a:ext cx="28" cy="31"/>
            </a:xfrm>
            <a:custGeom>
              <a:avLst/>
              <a:gdLst>
                <a:gd name="T0" fmla="*/ 163 w 226"/>
                <a:gd name="T1" fmla="*/ 102 h 241"/>
                <a:gd name="T2" fmla="*/ 147 w 226"/>
                <a:gd name="T3" fmla="*/ 66 h 241"/>
                <a:gd name="T4" fmla="*/ 114 w 226"/>
                <a:gd name="T5" fmla="*/ 53 h 241"/>
                <a:gd name="T6" fmla="*/ 81 w 226"/>
                <a:gd name="T7" fmla="*/ 66 h 241"/>
                <a:gd name="T8" fmla="*/ 64 w 226"/>
                <a:gd name="T9" fmla="*/ 102 h 241"/>
                <a:gd name="T10" fmla="*/ 163 w 226"/>
                <a:gd name="T11" fmla="*/ 102 h 241"/>
                <a:gd name="T12" fmla="*/ 120 w 226"/>
                <a:gd name="T13" fmla="*/ 241 h 241"/>
                <a:gd name="T14" fmla="*/ 72 w 226"/>
                <a:gd name="T15" fmla="*/ 232 h 241"/>
                <a:gd name="T16" fmla="*/ 34 w 226"/>
                <a:gd name="T17" fmla="*/ 208 h 241"/>
                <a:gd name="T18" fmla="*/ 9 w 226"/>
                <a:gd name="T19" fmla="*/ 170 h 241"/>
                <a:gd name="T20" fmla="*/ 0 w 226"/>
                <a:gd name="T21" fmla="*/ 121 h 241"/>
                <a:gd name="T22" fmla="*/ 0 w 226"/>
                <a:gd name="T23" fmla="*/ 121 h 241"/>
                <a:gd name="T24" fmla="*/ 8 w 226"/>
                <a:gd name="T25" fmla="*/ 74 h 241"/>
                <a:gd name="T26" fmla="*/ 32 w 226"/>
                <a:gd name="T27" fmla="*/ 36 h 241"/>
                <a:gd name="T28" fmla="*/ 68 w 226"/>
                <a:gd name="T29" fmla="*/ 10 h 241"/>
                <a:gd name="T30" fmla="*/ 114 w 226"/>
                <a:gd name="T31" fmla="*/ 0 h 241"/>
                <a:gd name="T32" fmla="*/ 164 w 226"/>
                <a:gd name="T33" fmla="*/ 11 h 241"/>
                <a:gd name="T34" fmla="*/ 199 w 226"/>
                <a:gd name="T35" fmla="*/ 38 h 241"/>
                <a:gd name="T36" fmla="*/ 220 w 226"/>
                <a:gd name="T37" fmla="*/ 79 h 241"/>
                <a:gd name="T38" fmla="*/ 226 w 226"/>
                <a:gd name="T39" fmla="*/ 126 h 241"/>
                <a:gd name="T40" fmla="*/ 226 w 226"/>
                <a:gd name="T41" fmla="*/ 134 h 241"/>
                <a:gd name="T42" fmla="*/ 226 w 226"/>
                <a:gd name="T43" fmla="*/ 143 h 241"/>
                <a:gd name="T44" fmla="*/ 65 w 226"/>
                <a:gd name="T45" fmla="*/ 143 h 241"/>
                <a:gd name="T46" fmla="*/ 84 w 226"/>
                <a:gd name="T47" fmla="*/ 177 h 241"/>
                <a:gd name="T48" fmla="*/ 121 w 226"/>
                <a:gd name="T49" fmla="*/ 188 h 241"/>
                <a:gd name="T50" fmla="*/ 151 w 226"/>
                <a:gd name="T51" fmla="*/ 183 h 241"/>
                <a:gd name="T52" fmla="*/ 177 w 226"/>
                <a:gd name="T53" fmla="*/ 164 h 241"/>
                <a:gd name="T54" fmla="*/ 215 w 226"/>
                <a:gd name="T55" fmla="*/ 198 h 241"/>
                <a:gd name="T56" fmla="*/ 175 w 226"/>
                <a:gd name="T57" fmla="*/ 229 h 241"/>
                <a:gd name="T58" fmla="*/ 120 w 226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6" h="241">
                  <a:moveTo>
                    <a:pt x="163" y="102"/>
                  </a:moveTo>
                  <a:cubicBezTo>
                    <a:pt x="161" y="87"/>
                    <a:pt x="155" y="76"/>
                    <a:pt x="147" y="66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0" y="53"/>
                    <a:pt x="89" y="57"/>
                    <a:pt x="81" y="66"/>
                  </a:cubicBezTo>
                  <a:cubicBezTo>
                    <a:pt x="72" y="75"/>
                    <a:pt x="67" y="87"/>
                    <a:pt x="64" y="102"/>
                  </a:cubicBezTo>
                  <a:lnTo>
                    <a:pt x="163" y="102"/>
                  </a:lnTo>
                  <a:close/>
                  <a:moveTo>
                    <a:pt x="120" y="241"/>
                  </a:moveTo>
                  <a:cubicBezTo>
                    <a:pt x="103" y="241"/>
                    <a:pt x="87" y="238"/>
                    <a:pt x="72" y="232"/>
                  </a:cubicBezTo>
                  <a:cubicBezTo>
                    <a:pt x="58" y="226"/>
                    <a:pt x="45" y="218"/>
                    <a:pt x="34" y="208"/>
                  </a:cubicBezTo>
                  <a:cubicBezTo>
                    <a:pt x="23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8" y="74"/>
                  </a:cubicBezTo>
                  <a:cubicBezTo>
                    <a:pt x="14" y="59"/>
                    <a:pt x="22" y="47"/>
                    <a:pt x="32" y="36"/>
                  </a:cubicBezTo>
                  <a:cubicBezTo>
                    <a:pt x="42" y="25"/>
                    <a:pt x="54" y="16"/>
                    <a:pt x="68" y="10"/>
                  </a:cubicBezTo>
                  <a:cubicBezTo>
                    <a:pt x="82" y="4"/>
                    <a:pt x="97" y="0"/>
                    <a:pt x="114" y="0"/>
                  </a:cubicBezTo>
                  <a:cubicBezTo>
                    <a:pt x="133" y="0"/>
                    <a:pt x="150" y="4"/>
                    <a:pt x="164" y="11"/>
                  </a:cubicBezTo>
                  <a:cubicBezTo>
                    <a:pt x="178" y="18"/>
                    <a:pt x="190" y="27"/>
                    <a:pt x="199" y="38"/>
                  </a:cubicBezTo>
                  <a:cubicBezTo>
                    <a:pt x="208" y="50"/>
                    <a:pt x="215" y="63"/>
                    <a:pt x="220" y="79"/>
                  </a:cubicBezTo>
                  <a:cubicBezTo>
                    <a:pt x="224" y="94"/>
                    <a:pt x="226" y="109"/>
                    <a:pt x="226" y="126"/>
                  </a:cubicBezTo>
                  <a:cubicBezTo>
                    <a:pt x="226" y="128"/>
                    <a:pt x="226" y="131"/>
                    <a:pt x="226" y="134"/>
                  </a:cubicBezTo>
                  <a:cubicBezTo>
                    <a:pt x="226" y="137"/>
                    <a:pt x="226" y="140"/>
                    <a:pt x="226" y="143"/>
                  </a:cubicBezTo>
                  <a:lnTo>
                    <a:pt x="65" y="143"/>
                  </a:lnTo>
                  <a:cubicBezTo>
                    <a:pt x="68" y="158"/>
                    <a:pt x="75" y="169"/>
                    <a:pt x="84" y="177"/>
                  </a:cubicBezTo>
                  <a:cubicBezTo>
                    <a:pt x="94" y="184"/>
                    <a:pt x="107" y="188"/>
                    <a:pt x="121" y="188"/>
                  </a:cubicBezTo>
                  <a:cubicBezTo>
                    <a:pt x="132" y="188"/>
                    <a:pt x="142" y="186"/>
                    <a:pt x="151" y="183"/>
                  </a:cubicBezTo>
                  <a:cubicBezTo>
                    <a:pt x="159" y="179"/>
                    <a:pt x="168" y="173"/>
                    <a:pt x="177" y="164"/>
                  </a:cubicBezTo>
                  <a:lnTo>
                    <a:pt x="215" y="198"/>
                  </a:lnTo>
                  <a:cubicBezTo>
                    <a:pt x="204" y="211"/>
                    <a:pt x="191" y="222"/>
                    <a:pt x="175" y="229"/>
                  </a:cubicBezTo>
                  <a:cubicBezTo>
                    <a:pt x="160" y="237"/>
                    <a:pt x="141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9" name="Freeform 18">
              <a:extLst>
                <a:ext uri="{FF2B5EF4-FFF2-40B4-BE49-F238E27FC236}">
                  <a16:creationId xmlns:a16="http://schemas.microsoft.com/office/drawing/2014/main" id="{3B642161-B537-0189-9AC7-5BA93E43D6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" y="356"/>
              <a:ext cx="33" cy="38"/>
            </a:xfrm>
            <a:custGeom>
              <a:avLst/>
              <a:gdLst>
                <a:gd name="T0" fmla="*/ 134 w 261"/>
                <a:gd name="T1" fmla="*/ 146 h 302"/>
                <a:gd name="T2" fmla="*/ 171 w 261"/>
                <a:gd name="T3" fmla="*/ 135 h 302"/>
                <a:gd name="T4" fmla="*/ 185 w 261"/>
                <a:gd name="T5" fmla="*/ 104 h 302"/>
                <a:gd name="T6" fmla="*/ 185 w 261"/>
                <a:gd name="T7" fmla="*/ 103 h 302"/>
                <a:gd name="T8" fmla="*/ 171 w 261"/>
                <a:gd name="T9" fmla="*/ 71 h 302"/>
                <a:gd name="T10" fmla="*/ 132 w 261"/>
                <a:gd name="T11" fmla="*/ 60 h 302"/>
                <a:gd name="T12" fmla="*/ 67 w 261"/>
                <a:gd name="T13" fmla="*/ 60 h 302"/>
                <a:gd name="T14" fmla="*/ 67 w 261"/>
                <a:gd name="T15" fmla="*/ 146 h 302"/>
                <a:gd name="T16" fmla="*/ 134 w 261"/>
                <a:gd name="T17" fmla="*/ 146 h 302"/>
                <a:gd name="T18" fmla="*/ 0 w 261"/>
                <a:gd name="T19" fmla="*/ 0 h 302"/>
                <a:gd name="T20" fmla="*/ 138 w 261"/>
                <a:gd name="T21" fmla="*/ 0 h 302"/>
                <a:gd name="T22" fmla="*/ 226 w 261"/>
                <a:gd name="T23" fmla="*/ 31 h 302"/>
                <a:gd name="T24" fmla="*/ 252 w 261"/>
                <a:gd name="T25" fmla="*/ 100 h 302"/>
                <a:gd name="T26" fmla="*/ 252 w 261"/>
                <a:gd name="T27" fmla="*/ 100 h 302"/>
                <a:gd name="T28" fmla="*/ 234 w 261"/>
                <a:gd name="T29" fmla="*/ 160 h 302"/>
                <a:gd name="T30" fmla="*/ 187 w 261"/>
                <a:gd name="T31" fmla="*/ 194 h 302"/>
                <a:gd name="T32" fmla="*/ 261 w 261"/>
                <a:gd name="T33" fmla="*/ 302 h 302"/>
                <a:gd name="T34" fmla="*/ 183 w 261"/>
                <a:gd name="T35" fmla="*/ 302 h 302"/>
                <a:gd name="T36" fmla="*/ 119 w 261"/>
                <a:gd name="T37" fmla="*/ 205 h 302"/>
                <a:gd name="T38" fmla="*/ 118 w 261"/>
                <a:gd name="T39" fmla="*/ 205 h 302"/>
                <a:gd name="T40" fmla="*/ 67 w 261"/>
                <a:gd name="T41" fmla="*/ 205 h 302"/>
                <a:gd name="T42" fmla="*/ 67 w 261"/>
                <a:gd name="T43" fmla="*/ 302 h 302"/>
                <a:gd name="T44" fmla="*/ 0 w 261"/>
                <a:gd name="T45" fmla="*/ 302 h 302"/>
                <a:gd name="T46" fmla="*/ 0 w 261"/>
                <a:gd name="T4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1" h="302">
                  <a:moveTo>
                    <a:pt x="134" y="146"/>
                  </a:moveTo>
                  <a:cubicBezTo>
                    <a:pt x="150" y="146"/>
                    <a:pt x="163" y="143"/>
                    <a:pt x="171" y="135"/>
                  </a:cubicBezTo>
                  <a:cubicBezTo>
                    <a:pt x="180" y="127"/>
                    <a:pt x="185" y="117"/>
                    <a:pt x="185" y="104"/>
                  </a:cubicBezTo>
                  <a:lnTo>
                    <a:pt x="185" y="103"/>
                  </a:lnTo>
                  <a:cubicBezTo>
                    <a:pt x="185" y="89"/>
                    <a:pt x="180" y="78"/>
                    <a:pt x="171" y="71"/>
                  </a:cubicBezTo>
                  <a:cubicBezTo>
                    <a:pt x="162" y="63"/>
                    <a:pt x="149" y="60"/>
                    <a:pt x="132" y="60"/>
                  </a:cubicBezTo>
                  <a:lnTo>
                    <a:pt x="67" y="60"/>
                  </a:lnTo>
                  <a:lnTo>
                    <a:pt x="67" y="146"/>
                  </a:lnTo>
                  <a:lnTo>
                    <a:pt x="134" y="146"/>
                  </a:lnTo>
                  <a:close/>
                  <a:moveTo>
                    <a:pt x="0" y="0"/>
                  </a:moveTo>
                  <a:lnTo>
                    <a:pt x="138" y="0"/>
                  </a:lnTo>
                  <a:cubicBezTo>
                    <a:pt x="176" y="0"/>
                    <a:pt x="206" y="10"/>
                    <a:pt x="226" y="31"/>
                  </a:cubicBezTo>
                  <a:cubicBezTo>
                    <a:pt x="243" y="48"/>
                    <a:pt x="252" y="71"/>
                    <a:pt x="252" y="100"/>
                  </a:cubicBezTo>
                  <a:lnTo>
                    <a:pt x="252" y="100"/>
                  </a:lnTo>
                  <a:cubicBezTo>
                    <a:pt x="252" y="125"/>
                    <a:pt x="246" y="145"/>
                    <a:pt x="234" y="160"/>
                  </a:cubicBezTo>
                  <a:cubicBezTo>
                    <a:pt x="222" y="175"/>
                    <a:pt x="206" y="187"/>
                    <a:pt x="187" y="194"/>
                  </a:cubicBezTo>
                  <a:lnTo>
                    <a:pt x="261" y="302"/>
                  </a:lnTo>
                  <a:lnTo>
                    <a:pt x="183" y="302"/>
                  </a:lnTo>
                  <a:lnTo>
                    <a:pt x="119" y="205"/>
                  </a:lnTo>
                  <a:lnTo>
                    <a:pt x="118" y="205"/>
                  </a:lnTo>
                  <a:lnTo>
                    <a:pt x="67" y="205"/>
                  </a:lnTo>
                  <a:lnTo>
                    <a:pt x="67" y="302"/>
                  </a:lnTo>
                  <a:lnTo>
                    <a:pt x="0" y="302"/>
                  </a:lnTo>
                  <a:lnTo>
                    <a:pt x="0" y="0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0" name="Freeform 19">
              <a:extLst>
                <a:ext uri="{FF2B5EF4-FFF2-40B4-BE49-F238E27FC236}">
                  <a16:creationId xmlns:a16="http://schemas.microsoft.com/office/drawing/2014/main" id="{14B4F242-B7BC-21D1-2AC1-4A836A5F04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9" y="364"/>
              <a:ext cx="28" cy="31"/>
            </a:xfrm>
            <a:custGeom>
              <a:avLst/>
              <a:gdLst>
                <a:gd name="T0" fmla="*/ 162 w 226"/>
                <a:gd name="T1" fmla="*/ 102 h 241"/>
                <a:gd name="T2" fmla="*/ 147 w 226"/>
                <a:gd name="T3" fmla="*/ 66 h 241"/>
                <a:gd name="T4" fmla="*/ 114 w 226"/>
                <a:gd name="T5" fmla="*/ 53 h 241"/>
                <a:gd name="T6" fmla="*/ 80 w 226"/>
                <a:gd name="T7" fmla="*/ 66 h 241"/>
                <a:gd name="T8" fmla="*/ 64 w 226"/>
                <a:gd name="T9" fmla="*/ 102 h 241"/>
                <a:gd name="T10" fmla="*/ 162 w 226"/>
                <a:gd name="T11" fmla="*/ 102 h 241"/>
                <a:gd name="T12" fmla="*/ 120 w 226"/>
                <a:gd name="T13" fmla="*/ 241 h 241"/>
                <a:gd name="T14" fmla="*/ 72 w 226"/>
                <a:gd name="T15" fmla="*/ 232 h 241"/>
                <a:gd name="T16" fmla="*/ 34 w 226"/>
                <a:gd name="T17" fmla="*/ 208 h 241"/>
                <a:gd name="T18" fmla="*/ 9 w 226"/>
                <a:gd name="T19" fmla="*/ 170 h 241"/>
                <a:gd name="T20" fmla="*/ 0 w 226"/>
                <a:gd name="T21" fmla="*/ 121 h 241"/>
                <a:gd name="T22" fmla="*/ 0 w 226"/>
                <a:gd name="T23" fmla="*/ 121 h 241"/>
                <a:gd name="T24" fmla="*/ 8 w 226"/>
                <a:gd name="T25" fmla="*/ 74 h 241"/>
                <a:gd name="T26" fmla="*/ 31 w 226"/>
                <a:gd name="T27" fmla="*/ 36 h 241"/>
                <a:gd name="T28" fmla="*/ 67 w 226"/>
                <a:gd name="T29" fmla="*/ 10 h 241"/>
                <a:gd name="T30" fmla="*/ 114 w 226"/>
                <a:gd name="T31" fmla="*/ 0 h 241"/>
                <a:gd name="T32" fmla="*/ 164 w 226"/>
                <a:gd name="T33" fmla="*/ 11 h 241"/>
                <a:gd name="T34" fmla="*/ 199 w 226"/>
                <a:gd name="T35" fmla="*/ 38 h 241"/>
                <a:gd name="T36" fmla="*/ 220 w 226"/>
                <a:gd name="T37" fmla="*/ 79 h 241"/>
                <a:gd name="T38" fmla="*/ 226 w 226"/>
                <a:gd name="T39" fmla="*/ 126 h 241"/>
                <a:gd name="T40" fmla="*/ 226 w 226"/>
                <a:gd name="T41" fmla="*/ 134 h 241"/>
                <a:gd name="T42" fmla="*/ 225 w 226"/>
                <a:gd name="T43" fmla="*/ 143 h 241"/>
                <a:gd name="T44" fmla="*/ 65 w 226"/>
                <a:gd name="T45" fmla="*/ 143 h 241"/>
                <a:gd name="T46" fmla="*/ 84 w 226"/>
                <a:gd name="T47" fmla="*/ 177 h 241"/>
                <a:gd name="T48" fmla="*/ 121 w 226"/>
                <a:gd name="T49" fmla="*/ 188 h 241"/>
                <a:gd name="T50" fmla="*/ 150 w 226"/>
                <a:gd name="T51" fmla="*/ 183 h 241"/>
                <a:gd name="T52" fmla="*/ 177 w 226"/>
                <a:gd name="T53" fmla="*/ 164 h 241"/>
                <a:gd name="T54" fmla="*/ 215 w 226"/>
                <a:gd name="T55" fmla="*/ 198 h 241"/>
                <a:gd name="T56" fmla="*/ 175 w 226"/>
                <a:gd name="T57" fmla="*/ 229 h 241"/>
                <a:gd name="T58" fmla="*/ 120 w 226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6" h="241">
                  <a:moveTo>
                    <a:pt x="162" y="102"/>
                  </a:moveTo>
                  <a:cubicBezTo>
                    <a:pt x="160" y="87"/>
                    <a:pt x="155" y="76"/>
                    <a:pt x="147" y="66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0" y="53"/>
                    <a:pt x="89" y="57"/>
                    <a:pt x="80" y="66"/>
                  </a:cubicBezTo>
                  <a:cubicBezTo>
                    <a:pt x="72" y="75"/>
                    <a:pt x="66" y="87"/>
                    <a:pt x="64" y="102"/>
                  </a:cubicBezTo>
                  <a:lnTo>
                    <a:pt x="162" y="102"/>
                  </a:lnTo>
                  <a:close/>
                  <a:moveTo>
                    <a:pt x="120" y="241"/>
                  </a:moveTo>
                  <a:cubicBezTo>
                    <a:pt x="103" y="241"/>
                    <a:pt x="87" y="238"/>
                    <a:pt x="72" y="232"/>
                  </a:cubicBezTo>
                  <a:cubicBezTo>
                    <a:pt x="57" y="226"/>
                    <a:pt x="45" y="218"/>
                    <a:pt x="34" y="208"/>
                  </a:cubicBezTo>
                  <a:cubicBezTo>
                    <a:pt x="23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2" y="89"/>
                    <a:pt x="8" y="74"/>
                  </a:cubicBezTo>
                  <a:cubicBezTo>
                    <a:pt x="14" y="59"/>
                    <a:pt x="21" y="47"/>
                    <a:pt x="31" y="36"/>
                  </a:cubicBezTo>
                  <a:cubicBezTo>
                    <a:pt x="42" y="25"/>
                    <a:pt x="54" y="16"/>
                    <a:pt x="67" y="10"/>
                  </a:cubicBezTo>
                  <a:cubicBezTo>
                    <a:pt x="81" y="4"/>
                    <a:pt x="97" y="0"/>
                    <a:pt x="114" y="0"/>
                  </a:cubicBezTo>
                  <a:cubicBezTo>
                    <a:pt x="133" y="0"/>
                    <a:pt x="150" y="4"/>
                    <a:pt x="164" y="11"/>
                  </a:cubicBezTo>
                  <a:cubicBezTo>
                    <a:pt x="178" y="18"/>
                    <a:pt x="190" y="27"/>
                    <a:pt x="199" y="38"/>
                  </a:cubicBezTo>
                  <a:cubicBezTo>
                    <a:pt x="208" y="50"/>
                    <a:pt x="215" y="63"/>
                    <a:pt x="220" y="79"/>
                  </a:cubicBezTo>
                  <a:cubicBezTo>
                    <a:pt x="224" y="94"/>
                    <a:pt x="226" y="109"/>
                    <a:pt x="226" y="126"/>
                  </a:cubicBezTo>
                  <a:cubicBezTo>
                    <a:pt x="226" y="128"/>
                    <a:pt x="226" y="131"/>
                    <a:pt x="226" y="134"/>
                  </a:cubicBezTo>
                  <a:cubicBezTo>
                    <a:pt x="226" y="137"/>
                    <a:pt x="226" y="140"/>
                    <a:pt x="225" y="143"/>
                  </a:cubicBezTo>
                  <a:lnTo>
                    <a:pt x="65" y="143"/>
                  </a:lnTo>
                  <a:cubicBezTo>
                    <a:pt x="68" y="158"/>
                    <a:pt x="74" y="169"/>
                    <a:pt x="84" y="177"/>
                  </a:cubicBezTo>
                  <a:cubicBezTo>
                    <a:pt x="94" y="184"/>
                    <a:pt x="106" y="188"/>
                    <a:pt x="121" y="188"/>
                  </a:cubicBezTo>
                  <a:cubicBezTo>
                    <a:pt x="132" y="188"/>
                    <a:pt x="142" y="186"/>
                    <a:pt x="150" y="183"/>
                  </a:cubicBezTo>
                  <a:cubicBezTo>
                    <a:pt x="159" y="179"/>
                    <a:pt x="168" y="173"/>
                    <a:pt x="177" y="164"/>
                  </a:cubicBezTo>
                  <a:lnTo>
                    <a:pt x="215" y="198"/>
                  </a:lnTo>
                  <a:cubicBezTo>
                    <a:pt x="204" y="211"/>
                    <a:pt x="190" y="222"/>
                    <a:pt x="175" y="229"/>
                  </a:cubicBezTo>
                  <a:cubicBezTo>
                    <a:pt x="159" y="237"/>
                    <a:pt x="141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" name="Freeform 20">
              <a:extLst>
                <a:ext uri="{FF2B5EF4-FFF2-40B4-BE49-F238E27FC236}">
                  <a16:creationId xmlns:a16="http://schemas.microsoft.com/office/drawing/2014/main" id="{5661A63B-CED5-50A8-CC37-D154BE83E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1" y="364"/>
              <a:ext cx="27" cy="31"/>
            </a:xfrm>
            <a:custGeom>
              <a:avLst/>
              <a:gdLst>
                <a:gd name="T0" fmla="*/ 120 w 214"/>
                <a:gd name="T1" fmla="*/ 241 h 241"/>
                <a:gd name="T2" fmla="*/ 72 w 214"/>
                <a:gd name="T3" fmla="*/ 231 h 241"/>
                <a:gd name="T4" fmla="*/ 34 w 214"/>
                <a:gd name="T5" fmla="*/ 206 h 241"/>
                <a:gd name="T6" fmla="*/ 9 w 214"/>
                <a:gd name="T7" fmla="*/ 168 h 241"/>
                <a:gd name="T8" fmla="*/ 0 w 214"/>
                <a:gd name="T9" fmla="*/ 121 h 241"/>
                <a:gd name="T10" fmla="*/ 0 w 214"/>
                <a:gd name="T11" fmla="*/ 121 h 241"/>
                <a:gd name="T12" fmla="*/ 9 w 214"/>
                <a:gd name="T13" fmla="*/ 74 h 241"/>
                <a:gd name="T14" fmla="*/ 34 w 214"/>
                <a:gd name="T15" fmla="*/ 36 h 241"/>
                <a:gd name="T16" fmla="*/ 72 w 214"/>
                <a:gd name="T17" fmla="*/ 10 h 241"/>
                <a:gd name="T18" fmla="*/ 121 w 214"/>
                <a:gd name="T19" fmla="*/ 0 h 241"/>
                <a:gd name="T20" fmla="*/ 175 w 214"/>
                <a:gd name="T21" fmla="*/ 11 h 241"/>
                <a:gd name="T22" fmla="*/ 213 w 214"/>
                <a:gd name="T23" fmla="*/ 39 h 241"/>
                <a:gd name="T24" fmla="*/ 173 w 214"/>
                <a:gd name="T25" fmla="*/ 82 h 241"/>
                <a:gd name="T26" fmla="*/ 150 w 214"/>
                <a:gd name="T27" fmla="*/ 64 h 241"/>
                <a:gd name="T28" fmla="*/ 120 w 214"/>
                <a:gd name="T29" fmla="*/ 57 h 241"/>
                <a:gd name="T30" fmla="*/ 98 w 214"/>
                <a:gd name="T31" fmla="*/ 62 h 241"/>
                <a:gd name="T32" fmla="*/ 80 w 214"/>
                <a:gd name="T33" fmla="*/ 75 h 241"/>
                <a:gd name="T34" fmla="*/ 68 w 214"/>
                <a:gd name="T35" fmla="*/ 95 h 241"/>
                <a:gd name="T36" fmla="*/ 64 w 214"/>
                <a:gd name="T37" fmla="*/ 120 h 241"/>
                <a:gd name="T38" fmla="*/ 64 w 214"/>
                <a:gd name="T39" fmla="*/ 121 h 241"/>
                <a:gd name="T40" fmla="*/ 68 w 214"/>
                <a:gd name="T41" fmla="*/ 146 h 241"/>
                <a:gd name="T42" fmla="*/ 80 w 214"/>
                <a:gd name="T43" fmla="*/ 166 h 241"/>
                <a:gd name="T44" fmla="*/ 99 w 214"/>
                <a:gd name="T45" fmla="*/ 179 h 241"/>
                <a:gd name="T46" fmla="*/ 123 w 214"/>
                <a:gd name="T47" fmla="*/ 184 h 241"/>
                <a:gd name="T48" fmla="*/ 152 w 214"/>
                <a:gd name="T49" fmla="*/ 178 h 241"/>
                <a:gd name="T50" fmla="*/ 176 w 214"/>
                <a:gd name="T51" fmla="*/ 160 h 241"/>
                <a:gd name="T52" fmla="*/ 214 w 214"/>
                <a:gd name="T53" fmla="*/ 199 h 241"/>
                <a:gd name="T54" fmla="*/ 176 w 214"/>
                <a:gd name="T55" fmla="*/ 229 h 241"/>
                <a:gd name="T56" fmla="*/ 120 w 214"/>
                <a:gd name="T5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4" h="241">
                  <a:moveTo>
                    <a:pt x="120" y="241"/>
                  </a:moveTo>
                  <a:cubicBezTo>
                    <a:pt x="103" y="241"/>
                    <a:pt x="87" y="238"/>
                    <a:pt x="72" y="231"/>
                  </a:cubicBezTo>
                  <a:cubicBezTo>
                    <a:pt x="57" y="225"/>
                    <a:pt x="44" y="216"/>
                    <a:pt x="34" y="206"/>
                  </a:cubicBezTo>
                  <a:cubicBezTo>
                    <a:pt x="23" y="195"/>
                    <a:pt x="15" y="182"/>
                    <a:pt x="9" y="168"/>
                  </a:cubicBezTo>
                  <a:cubicBezTo>
                    <a:pt x="3" y="153"/>
                    <a:pt x="0" y="138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9" y="74"/>
                  </a:cubicBezTo>
                  <a:cubicBezTo>
                    <a:pt x="15" y="59"/>
                    <a:pt x="23" y="47"/>
                    <a:pt x="34" y="36"/>
                  </a:cubicBezTo>
                  <a:cubicBezTo>
                    <a:pt x="44" y="25"/>
                    <a:pt x="57" y="16"/>
                    <a:pt x="72" y="10"/>
                  </a:cubicBezTo>
                  <a:cubicBezTo>
                    <a:pt x="87" y="4"/>
                    <a:pt x="103" y="0"/>
                    <a:pt x="121" y="0"/>
                  </a:cubicBezTo>
                  <a:cubicBezTo>
                    <a:pt x="143" y="0"/>
                    <a:pt x="161" y="4"/>
                    <a:pt x="175" y="11"/>
                  </a:cubicBezTo>
                  <a:cubicBezTo>
                    <a:pt x="189" y="18"/>
                    <a:pt x="202" y="27"/>
                    <a:pt x="213" y="39"/>
                  </a:cubicBezTo>
                  <a:lnTo>
                    <a:pt x="173" y="82"/>
                  </a:lnTo>
                  <a:cubicBezTo>
                    <a:pt x="165" y="74"/>
                    <a:pt x="158" y="68"/>
                    <a:pt x="150" y="64"/>
                  </a:cubicBezTo>
                  <a:cubicBezTo>
                    <a:pt x="142" y="59"/>
                    <a:pt x="132" y="57"/>
                    <a:pt x="120" y="57"/>
                  </a:cubicBezTo>
                  <a:cubicBezTo>
                    <a:pt x="112" y="57"/>
                    <a:pt x="104" y="58"/>
                    <a:pt x="98" y="62"/>
                  </a:cubicBezTo>
                  <a:cubicBezTo>
                    <a:pt x="91" y="65"/>
                    <a:pt x="85" y="70"/>
                    <a:pt x="80" y="75"/>
                  </a:cubicBezTo>
                  <a:cubicBezTo>
                    <a:pt x="75" y="81"/>
                    <a:pt x="71" y="88"/>
                    <a:pt x="68" y="95"/>
                  </a:cubicBezTo>
                  <a:cubicBezTo>
                    <a:pt x="66" y="103"/>
                    <a:pt x="64" y="111"/>
                    <a:pt x="64" y="120"/>
                  </a:cubicBezTo>
                  <a:lnTo>
                    <a:pt x="64" y="121"/>
                  </a:lnTo>
                  <a:cubicBezTo>
                    <a:pt x="64" y="129"/>
                    <a:pt x="66" y="138"/>
                    <a:pt x="68" y="146"/>
                  </a:cubicBezTo>
                  <a:cubicBezTo>
                    <a:pt x="71" y="153"/>
                    <a:pt x="75" y="160"/>
                    <a:pt x="80" y="166"/>
                  </a:cubicBezTo>
                  <a:cubicBezTo>
                    <a:pt x="85" y="172"/>
                    <a:pt x="92" y="176"/>
                    <a:pt x="99" y="179"/>
                  </a:cubicBezTo>
                  <a:cubicBezTo>
                    <a:pt x="106" y="183"/>
                    <a:pt x="114" y="184"/>
                    <a:pt x="123" y="184"/>
                  </a:cubicBezTo>
                  <a:cubicBezTo>
                    <a:pt x="134" y="184"/>
                    <a:pt x="143" y="182"/>
                    <a:pt x="152" y="178"/>
                  </a:cubicBezTo>
                  <a:cubicBezTo>
                    <a:pt x="160" y="173"/>
                    <a:pt x="168" y="167"/>
                    <a:pt x="176" y="160"/>
                  </a:cubicBezTo>
                  <a:lnTo>
                    <a:pt x="214" y="199"/>
                  </a:lnTo>
                  <a:cubicBezTo>
                    <a:pt x="203" y="211"/>
                    <a:pt x="190" y="221"/>
                    <a:pt x="176" y="229"/>
                  </a:cubicBezTo>
                  <a:cubicBezTo>
                    <a:pt x="162" y="237"/>
                    <a:pt x="143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" name="Freeform 21">
              <a:extLst>
                <a:ext uri="{FF2B5EF4-FFF2-40B4-BE49-F238E27FC236}">
                  <a16:creationId xmlns:a16="http://schemas.microsoft.com/office/drawing/2014/main" id="{C59CA24A-BE6A-65B2-680F-F80F50AA3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3" y="365"/>
              <a:ext cx="26" cy="30"/>
            </a:xfrm>
            <a:custGeom>
              <a:avLst/>
              <a:gdLst>
                <a:gd name="T0" fmla="*/ 79 w 212"/>
                <a:gd name="T1" fmla="*/ 235 h 235"/>
                <a:gd name="T2" fmla="*/ 21 w 212"/>
                <a:gd name="T3" fmla="*/ 212 h 235"/>
                <a:gd name="T4" fmla="*/ 0 w 212"/>
                <a:gd name="T5" fmla="*/ 149 h 235"/>
                <a:gd name="T6" fmla="*/ 0 w 212"/>
                <a:gd name="T7" fmla="*/ 0 h 235"/>
                <a:gd name="T8" fmla="*/ 66 w 212"/>
                <a:gd name="T9" fmla="*/ 0 h 235"/>
                <a:gd name="T10" fmla="*/ 66 w 212"/>
                <a:gd name="T11" fmla="*/ 128 h 235"/>
                <a:gd name="T12" fmla="*/ 76 w 212"/>
                <a:gd name="T13" fmla="*/ 163 h 235"/>
                <a:gd name="T14" fmla="*/ 105 w 212"/>
                <a:gd name="T15" fmla="*/ 175 h 235"/>
                <a:gd name="T16" fmla="*/ 135 w 212"/>
                <a:gd name="T17" fmla="*/ 163 h 235"/>
                <a:gd name="T18" fmla="*/ 146 w 212"/>
                <a:gd name="T19" fmla="*/ 128 h 235"/>
                <a:gd name="T20" fmla="*/ 146 w 212"/>
                <a:gd name="T21" fmla="*/ 0 h 235"/>
                <a:gd name="T22" fmla="*/ 212 w 212"/>
                <a:gd name="T23" fmla="*/ 0 h 235"/>
                <a:gd name="T24" fmla="*/ 212 w 212"/>
                <a:gd name="T25" fmla="*/ 231 h 235"/>
                <a:gd name="T26" fmla="*/ 146 w 212"/>
                <a:gd name="T27" fmla="*/ 231 h 235"/>
                <a:gd name="T28" fmla="*/ 146 w 212"/>
                <a:gd name="T29" fmla="*/ 198 h 235"/>
                <a:gd name="T30" fmla="*/ 134 w 212"/>
                <a:gd name="T31" fmla="*/ 212 h 235"/>
                <a:gd name="T32" fmla="*/ 119 w 212"/>
                <a:gd name="T33" fmla="*/ 224 h 235"/>
                <a:gd name="T34" fmla="*/ 101 w 212"/>
                <a:gd name="T35" fmla="*/ 232 h 235"/>
                <a:gd name="T36" fmla="*/ 79 w 212"/>
                <a:gd name="T37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2" h="235">
                  <a:moveTo>
                    <a:pt x="79" y="235"/>
                  </a:moveTo>
                  <a:cubicBezTo>
                    <a:pt x="54" y="235"/>
                    <a:pt x="34" y="227"/>
                    <a:pt x="21" y="212"/>
                  </a:cubicBezTo>
                  <a:cubicBezTo>
                    <a:pt x="7" y="197"/>
                    <a:pt x="0" y="176"/>
                    <a:pt x="0" y="149"/>
                  </a:cubicBezTo>
                  <a:lnTo>
                    <a:pt x="0" y="0"/>
                  </a:lnTo>
                  <a:lnTo>
                    <a:pt x="66" y="0"/>
                  </a:lnTo>
                  <a:lnTo>
                    <a:pt x="66" y="128"/>
                  </a:lnTo>
                  <a:cubicBezTo>
                    <a:pt x="66" y="144"/>
                    <a:pt x="69" y="155"/>
                    <a:pt x="76" y="163"/>
                  </a:cubicBezTo>
                  <a:cubicBezTo>
                    <a:pt x="83" y="171"/>
                    <a:pt x="93" y="175"/>
                    <a:pt x="105" y="175"/>
                  </a:cubicBezTo>
                  <a:cubicBezTo>
                    <a:pt x="118" y="175"/>
                    <a:pt x="128" y="171"/>
                    <a:pt x="135" y="163"/>
                  </a:cubicBezTo>
                  <a:cubicBezTo>
                    <a:pt x="143" y="155"/>
                    <a:pt x="146" y="144"/>
                    <a:pt x="146" y="128"/>
                  </a:cubicBezTo>
                  <a:lnTo>
                    <a:pt x="146" y="0"/>
                  </a:lnTo>
                  <a:lnTo>
                    <a:pt x="212" y="0"/>
                  </a:lnTo>
                  <a:lnTo>
                    <a:pt x="212" y="231"/>
                  </a:lnTo>
                  <a:lnTo>
                    <a:pt x="146" y="231"/>
                  </a:lnTo>
                  <a:lnTo>
                    <a:pt x="146" y="198"/>
                  </a:lnTo>
                  <a:cubicBezTo>
                    <a:pt x="142" y="202"/>
                    <a:pt x="138" y="207"/>
                    <a:pt x="134" y="212"/>
                  </a:cubicBezTo>
                  <a:cubicBezTo>
                    <a:pt x="129" y="216"/>
                    <a:pt x="125" y="220"/>
                    <a:pt x="119" y="224"/>
                  </a:cubicBezTo>
                  <a:cubicBezTo>
                    <a:pt x="114" y="227"/>
                    <a:pt x="108" y="230"/>
                    <a:pt x="101" y="232"/>
                  </a:cubicBezTo>
                  <a:cubicBezTo>
                    <a:pt x="94" y="234"/>
                    <a:pt x="87" y="235"/>
                    <a:pt x="79" y="235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3" name="Freeform 22">
              <a:extLst>
                <a:ext uri="{FF2B5EF4-FFF2-40B4-BE49-F238E27FC236}">
                  <a16:creationId xmlns:a16="http://schemas.microsoft.com/office/drawing/2014/main" id="{58BC21F2-5C36-3B7C-B4D1-8282D4A896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6" y="364"/>
              <a:ext cx="30" cy="39"/>
            </a:xfrm>
            <a:custGeom>
              <a:avLst/>
              <a:gdLst>
                <a:gd name="T0" fmla="*/ 121 w 243"/>
                <a:gd name="T1" fmla="*/ 184 h 305"/>
                <a:gd name="T2" fmla="*/ 143 w 243"/>
                <a:gd name="T3" fmla="*/ 180 h 305"/>
                <a:gd name="T4" fmla="*/ 161 w 243"/>
                <a:gd name="T5" fmla="*/ 167 h 305"/>
                <a:gd name="T6" fmla="*/ 173 w 243"/>
                <a:gd name="T7" fmla="*/ 147 h 305"/>
                <a:gd name="T8" fmla="*/ 177 w 243"/>
                <a:gd name="T9" fmla="*/ 121 h 305"/>
                <a:gd name="T10" fmla="*/ 177 w 243"/>
                <a:gd name="T11" fmla="*/ 120 h 305"/>
                <a:gd name="T12" fmla="*/ 173 w 243"/>
                <a:gd name="T13" fmla="*/ 94 h 305"/>
                <a:gd name="T14" fmla="*/ 161 w 243"/>
                <a:gd name="T15" fmla="*/ 73 h 305"/>
                <a:gd name="T16" fmla="*/ 143 w 243"/>
                <a:gd name="T17" fmla="*/ 60 h 305"/>
                <a:gd name="T18" fmla="*/ 121 w 243"/>
                <a:gd name="T19" fmla="*/ 56 h 305"/>
                <a:gd name="T20" fmla="*/ 99 w 243"/>
                <a:gd name="T21" fmla="*/ 60 h 305"/>
                <a:gd name="T22" fmla="*/ 81 w 243"/>
                <a:gd name="T23" fmla="*/ 73 h 305"/>
                <a:gd name="T24" fmla="*/ 69 w 243"/>
                <a:gd name="T25" fmla="*/ 94 h 305"/>
                <a:gd name="T26" fmla="*/ 65 w 243"/>
                <a:gd name="T27" fmla="*/ 120 h 305"/>
                <a:gd name="T28" fmla="*/ 65 w 243"/>
                <a:gd name="T29" fmla="*/ 121 h 305"/>
                <a:gd name="T30" fmla="*/ 69 w 243"/>
                <a:gd name="T31" fmla="*/ 147 h 305"/>
                <a:gd name="T32" fmla="*/ 81 w 243"/>
                <a:gd name="T33" fmla="*/ 167 h 305"/>
                <a:gd name="T34" fmla="*/ 99 w 243"/>
                <a:gd name="T35" fmla="*/ 180 h 305"/>
                <a:gd name="T36" fmla="*/ 121 w 243"/>
                <a:gd name="T37" fmla="*/ 184 h 305"/>
                <a:gd name="T38" fmla="*/ 0 w 243"/>
                <a:gd name="T39" fmla="*/ 5 h 305"/>
                <a:gd name="T40" fmla="*/ 66 w 243"/>
                <a:gd name="T41" fmla="*/ 5 h 305"/>
                <a:gd name="T42" fmla="*/ 66 w 243"/>
                <a:gd name="T43" fmla="*/ 38 h 305"/>
                <a:gd name="T44" fmla="*/ 95 w 243"/>
                <a:gd name="T45" fmla="*/ 11 h 305"/>
                <a:gd name="T46" fmla="*/ 138 w 243"/>
                <a:gd name="T47" fmla="*/ 0 h 305"/>
                <a:gd name="T48" fmla="*/ 177 w 243"/>
                <a:gd name="T49" fmla="*/ 8 h 305"/>
                <a:gd name="T50" fmla="*/ 210 w 243"/>
                <a:gd name="T51" fmla="*/ 31 h 305"/>
                <a:gd name="T52" fmla="*/ 234 w 243"/>
                <a:gd name="T53" fmla="*/ 69 h 305"/>
                <a:gd name="T54" fmla="*/ 243 w 243"/>
                <a:gd name="T55" fmla="*/ 120 h 305"/>
                <a:gd name="T56" fmla="*/ 243 w 243"/>
                <a:gd name="T57" fmla="*/ 121 h 305"/>
                <a:gd name="T58" fmla="*/ 234 w 243"/>
                <a:gd name="T59" fmla="*/ 172 h 305"/>
                <a:gd name="T60" fmla="*/ 211 w 243"/>
                <a:gd name="T61" fmla="*/ 209 h 305"/>
                <a:gd name="T62" fmla="*/ 177 w 243"/>
                <a:gd name="T63" fmla="*/ 232 h 305"/>
                <a:gd name="T64" fmla="*/ 138 w 243"/>
                <a:gd name="T65" fmla="*/ 240 h 305"/>
                <a:gd name="T66" fmla="*/ 94 w 243"/>
                <a:gd name="T67" fmla="*/ 230 h 305"/>
                <a:gd name="T68" fmla="*/ 66 w 243"/>
                <a:gd name="T69" fmla="*/ 205 h 305"/>
                <a:gd name="T70" fmla="*/ 66 w 243"/>
                <a:gd name="T71" fmla="*/ 305 h 305"/>
                <a:gd name="T72" fmla="*/ 0 w 243"/>
                <a:gd name="T73" fmla="*/ 305 h 305"/>
                <a:gd name="T74" fmla="*/ 0 w 243"/>
                <a:gd name="T75" fmla="*/ 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3" h="305">
                  <a:moveTo>
                    <a:pt x="121" y="184"/>
                  </a:moveTo>
                  <a:cubicBezTo>
                    <a:pt x="129" y="184"/>
                    <a:pt x="136" y="183"/>
                    <a:pt x="143" y="180"/>
                  </a:cubicBezTo>
                  <a:cubicBezTo>
                    <a:pt x="149" y="177"/>
                    <a:pt x="155" y="172"/>
                    <a:pt x="161" y="167"/>
                  </a:cubicBezTo>
                  <a:cubicBezTo>
                    <a:pt x="166" y="161"/>
                    <a:pt x="170" y="155"/>
                    <a:pt x="173" y="147"/>
                  </a:cubicBezTo>
                  <a:cubicBezTo>
                    <a:pt x="176" y="139"/>
                    <a:pt x="177" y="130"/>
                    <a:pt x="177" y="121"/>
                  </a:cubicBezTo>
                  <a:lnTo>
                    <a:pt x="177" y="120"/>
                  </a:lnTo>
                  <a:cubicBezTo>
                    <a:pt x="177" y="110"/>
                    <a:pt x="176" y="102"/>
                    <a:pt x="173" y="94"/>
                  </a:cubicBezTo>
                  <a:cubicBezTo>
                    <a:pt x="170" y="86"/>
                    <a:pt x="166" y="79"/>
                    <a:pt x="161" y="73"/>
                  </a:cubicBezTo>
                  <a:cubicBezTo>
                    <a:pt x="155" y="68"/>
                    <a:pt x="149" y="63"/>
                    <a:pt x="143" y="60"/>
                  </a:cubicBezTo>
                  <a:cubicBezTo>
                    <a:pt x="136" y="57"/>
                    <a:pt x="129" y="56"/>
                    <a:pt x="121" y="56"/>
                  </a:cubicBezTo>
                  <a:cubicBezTo>
                    <a:pt x="113" y="56"/>
                    <a:pt x="106" y="57"/>
                    <a:pt x="99" y="60"/>
                  </a:cubicBezTo>
                  <a:cubicBezTo>
                    <a:pt x="92" y="63"/>
                    <a:pt x="86" y="68"/>
                    <a:pt x="81" y="73"/>
                  </a:cubicBezTo>
                  <a:cubicBezTo>
                    <a:pt x="76" y="79"/>
                    <a:pt x="72" y="86"/>
                    <a:pt x="69" y="94"/>
                  </a:cubicBezTo>
                  <a:cubicBezTo>
                    <a:pt x="66" y="102"/>
                    <a:pt x="65" y="110"/>
                    <a:pt x="65" y="120"/>
                  </a:cubicBezTo>
                  <a:lnTo>
                    <a:pt x="65" y="121"/>
                  </a:lnTo>
                  <a:cubicBezTo>
                    <a:pt x="65" y="130"/>
                    <a:pt x="66" y="139"/>
                    <a:pt x="69" y="147"/>
                  </a:cubicBezTo>
                  <a:cubicBezTo>
                    <a:pt x="72" y="155"/>
                    <a:pt x="76" y="161"/>
                    <a:pt x="81" y="167"/>
                  </a:cubicBezTo>
                  <a:cubicBezTo>
                    <a:pt x="86" y="172"/>
                    <a:pt x="92" y="177"/>
                    <a:pt x="99" y="180"/>
                  </a:cubicBezTo>
                  <a:cubicBezTo>
                    <a:pt x="106" y="183"/>
                    <a:pt x="113" y="184"/>
                    <a:pt x="121" y="184"/>
                  </a:cubicBezTo>
                  <a:close/>
                  <a:moveTo>
                    <a:pt x="0" y="5"/>
                  </a:moveTo>
                  <a:lnTo>
                    <a:pt x="66" y="5"/>
                  </a:lnTo>
                  <a:lnTo>
                    <a:pt x="66" y="38"/>
                  </a:lnTo>
                  <a:cubicBezTo>
                    <a:pt x="74" y="27"/>
                    <a:pt x="83" y="18"/>
                    <a:pt x="95" y="11"/>
                  </a:cubicBezTo>
                  <a:cubicBezTo>
                    <a:pt x="106" y="4"/>
                    <a:pt x="120" y="0"/>
                    <a:pt x="138" y="0"/>
                  </a:cubicBezTo>
                  <a:cubicBezTo>
                    <a:pt x="151" y="0"/>
                    <a:pt x="164" y="3"/>
                    <a:pt x="177" y="8"/>
                  </a:cubicBezTo>
                  <a:cubicBezTo>
                    <a:pt x="190" y="13"/>
                    <a:pt x="201" y="21"/>
                    <a:pt x="210" y="31"/>
                  </a:cubicBezTo>
                  <a:cubicBezTo>
                    <a:pt x="220" y="41"/>
                    <a:pt x="228" y="54"/>
                    <a:pt x="234" y="69"/>
                  </a:cubicBezTo>
                  <a:cubicBezTo>
                    <a:pt x="240" y="83"/>
                    <a:pt x="243" y="100"/>
                    <a:pt x="243" y="120"/>
                  </a:cubicBezTo>
                  <a:lnTo>
                    <a:pt x="243" y="121"/>
                  </a:lnTo>
                  <a:cubicBezTo>
                    <a:pt x="243" y="140"/>
                    <a:pt x="240" y="157"/>
                    <a:pt x="234" y="172"/>
                  </a:cubicBezTo>
                  <a:cubicBezTo>
                    <a:pt x="228" y="186"/>
                    <a:pt x="220" y="199"/>
                    <a:pt x="211" y="209"/>
                  </a:cubicBezTo>
                  <a:cubicBezTo>
                    <a:pt x="201" y="219"/>
                    <a:pt x="190" y="227"/>
                    <a:pt x="177" y="232"/>
                  </a:cubicBezTo>
                  <a:cubicBezTo>
                    <a:pt x="165" y="237"/>
                    <a:pt x="151" y="240"/>
                    <a:pt x="138" y="240"/>
                  </a:cubicBezTo>
                  <a:cubicBezTo>
                    <a:pt x="120" y="240"/>
                    <a:pt x="106" y="236"/>
                    <a:pt x="94" y="230"/>
                  </a:cubicBezTo>
                  <a:cubicBezTo>
                    <a:pt x="83" y="223"/>
                    <a:pt x="74" y="215"/>
                    <a:pt x="66" y="205"/>
                  </a:cubicBezTo>
                  <a:lnTo>
                    <a:pt x="66" y="305"/>
                  </a:lnTo>
                  <a:lnTo>
                    <a:pt x="0" y="305"/>
                  </a:lnTo>
                  <a:lnTo>
                    <a:pt x="0" y="5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4" name="Freeform 23">
              <a:extLst>
                <a:ext uri="{FF2B5EF4-FFF2-40B4-BE49-F238E27FC236}">
                  <a16:creationId xmlns:a16="http://schemas.microsoft.com/office/drawing/2014/main" id="{B071A0F3-BF35-E048-9BB3-76619682C9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1" y="364"/>
              <a:ext cx="28" cy="31"/>
            </a:xfrm>
            <a:custGeom>
              <a:avLst/>
              <a:gdLst>
                <a:gd name="T0" fmla="*/ 163 w 226"/>
                <a:gd name="T1" fmla="*/ 102 h 241"/>
                <a:gd name="T2" fmla="*/ 147 w 226"/>
                <a:gd name="T3" fmla="*/ 66 h 241"/>
                <a:gd name="T4" fmla="*/ 114 w 226"/>
                <a:gd name="T5" fmla="*/ 53 h 241"/>
                <a:gd name="T6" fmla="*/ 81 w 226"/>
                <a:gd name="T7" fmla="*/ 66 h 241"/>
                <a:gd name="T8" fmla="*/ 64 w 226"/>
                <a:gd name="T9" fmla="*/ 102 h 241"/>
                <a:gd name="T10" fmla="*/ 163 w 226"/>
                <a:gd name="T11" fmla="*/ 102 h 241"/>
                <a:gd name="T12" fmla="*/ 120 w 226"/>
                <a:gd name="T13" fmla="*/ 241 h 241"/>
                <a:gd name="T14" fmla="*/ 72 w 226"/>
                <a:gd name="T15" fmla="*/ 232 h 241"/>
                <a:gd name="T16" fmla="*/ 34 w 226"/>
                <a:gd name="T17" fmla="*/ 208 h 241"/>
                <a:gd name="T18" fmla="*/ 9 w 226"/>
                <a:gd name="T19" fmla="*/ 170 h 241"/>
                <a:gd name="T20" fmla="*/ 0 w 226"/>
                <a:gd name="T21" fmla="*/ 121 h 241"/>
                <a:gd name="T22" fmla="*/ 0 w 226"/>
                <a:gd name="T23" fmla="*/ 121 h 241"/>
                <a:gd name="T24" fmla="*/ 8 w 226"/>
                <a:gd name="T25" fmla="*/ 74 h 241"/>
                <a:gd name="T26" fmla="*/ 32 w 226"/>
                <a:gd name="T27" fmla="*/ 36 h 241"/>
                <a:gd name="T28" fmla="*/ 68 w 226"/>
                <a:gd name="T29" fmla="*/ 10 h 241"/>
                <a:gd name="T30" fmla="*/ 114 w 226"/>
                <a:gd name="T31" fmla="*/ 0 h 241"/>
                <a:gd name="T32" fmla="*/ 164 w 226"/>
                <a:gd name="T33" fmla="*/ 11 h 241"/>
                <a:gd name="T34" fmla="*/ 199 w 226"/>
                <a:gd name="T35" fmla="*/ 38 h 241"/>
                <a:gd name="T36" fmla="*/ 220 w 226"/>
                <a:gd name="T37" fmla="*/ 79 h 241"/>
                <a:gd name="T38" fmla="*/ 226 w 226"/>
                <a:gd name="T39" fmla="*/ 126 h 241"/>
                <a:gd name="T40" fmla="*/ 226 w 226"/>
                <a:gd name="T41" fmla="*/ 134 h 241"/>
                <a:gd name="T42" fmla="*/ 226 w 226"/>
                <a:gd name="T43" fmla="*/ 143 h 241"/>
                <a:gd name="T44" fmla="*/ 65 w 226"/>
                <a:gd name="T45" fmla="*/ 143 h 241"/>
                <a:gd name="T46" fmla="*/ 85 w 226"/>
                <a:gd name="T47" fmla="*/ 177 h 241"/>
                <a:gd name="T48" fmla="*/ 121 w 226"/>
                <a:gd name="T49" fmla="*/ 188 h 241"/>
                <a:gd name="T50" fmla="*/ 151 w 226"/>
                <a:gd name="T51" fmla="*/ 183 h 241"/>
                <a:gd name="T52" fmla="*/ 177 w 226"/>
                <a:gd name="T53" fmla="*/ 164 h 241"/>
                <a:gd name="T54" fmla="*/ 215 w 226"/>
                <a:gd name="T55" fmla="*/ 198 h 241"/>
                <a:gd name="T56" fmla="*/ 175 w 226"/>
                <a:gd name="T57" fmla="*/ 229 h 241"/>
                <a:gd name="T58" fmla="*/ 120 w 226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6" h="241">
                  <a:moveTo>
                    <a:pt x="163" y="102"/>
                  </a:moveTo>
                  <a:cubicBezTo>
                    <a:pt x="161" y="87"/>
                    <a:pt x="156" y="76"/>
                    <a:pt x="147" y="66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0" y="53"/>
                    <a:pt x="89" y="57"/>
                    <a:pt x="81" y="66"/>
                  </a:cubicBezTo>
                  <a:cubicBezTo>
                    <a:pt x="72" y="75"/>
                    <a:pt x="67" y="87"/>
                    <a:pt x="64" y="102"/>
                  </a:cubicBezTo>
                  <a:lnTo>
                    <a:pt x="163" y="102"/>
                  </a:lnTo>
                  <a:close/>
                  <a:moveTo>
                    <a:pt x="120" y="241"/>
                  </a:moveTo>
                  <a:cubicBezTo>
                    <a:pt x="103" y="241"/>
                    <a:pt x="87" y="238"/>
                    <a:pt x="72" y="232"/>
                  </a:cubicBezTo>
                  <a:cubicBezTo>
                    <a:pt x="58" y="226"/>
                    <a:pt x="45" y="218"/>
                    <a:pt x="34" y="208"/>
                  </a:cubicBezTo>
                  <a:cubicBezTo>
                    <a:pt x="23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8" y="74"/>
                  </a:cubicBezTo>
                  <a:cubicBezTo>
                    <a:pt x="14" y="59"/>
                    <a:pt x="22" y="47"/>
                    <a:pt x="32" y="36"/>
                  </a:cubicBezTo>
                  <a:cubicBezTo>
                    <a:pt x="42" y="25"/>
                    <a:pt x="54" y="16"/>
                    <a:pt x="68" y="10"/>
                  </a:cubicBezTo>
                  <a:cubicBezTo>
                    <a:pt x="82" y="4"/>
                    <a:pt x="97" y="0"/>
                    <a:pt x="114" y="0"/>
                  </a:cubicBezTo>
                  <a:cubicBezTo>
                    <a:pt x="133" y="0"/>
                    <a:pt x="150" y="4"/>
                    <a:pt x="164" y="11"/>
                  </a:cubicBezTo>
                  <a:cubicBezTo>
                    <a:pt x="178" y="18"/>
                    <a:pt x="190" y="27"/>
                    <a:pt x="199" y="38"/>
                  </a:cubicBezTo>
                  <a:cubicBezTo>
                    <a:pt x="208" y="50"/>
                    <a:pt x="215" y="63"/>
                    <a:pt x="220" y="79"/>
                  </a:cubicBezTo>
                  <a:cubicBezTo>
                    <a:pt x="224" y="94"/>
                    <a:pt x="226" y="109"/>
                    <a:pt x="226" y="126"/>
                  </a:cubicBezTo>
                  <a:cubicBezTo>
                    <a:pt x="226" y="128"/>
                    <a:pt x="226" y="131"/>
                    <a:pt x="226" y="134"/>
                  </a:cubicBezTo>
                  <a:cubicBezTo>
                    <a:pt x="226" y="137"/>
                    <a:pt x="226" y="140"/>
                    <a:pt x="226" y="143"/>
                  </a:cubicBezTo>
                  <a:lnTo>
                    <a:pt x="65" y="143"/>
                  </a:lnTo>
                  <a:cubicBezTo>
                    <a:pt x="68" y="158"/>
                    <a:pt x="75" y="169"/>
                    <a:pt x="85" y="177"/>
                  </a:cubicBezTo>
                  <a:cubicBezTo>
                    <a:pt x="94" y="184"/>
                    <a:pt x="107" y="188"/>
                    <a:pt x="121" y="188"/>
                  </a:cubicBezTo>
                  <a:cubicBezTo>
                    <a:pt x="132" y="188"/>
                    <a:pt x="142" y="186"/>
                    <a:pt x="151" y="183"/>
                  </a:cubicBezTo>
                  <a:cubicBezTo>
                    <a:pt x="159" y="179"/>
                    <a:pt x="168" y="173"/>
                    <a:pt x="177" y="164"/>
                  </a:cubicBezTo>
                  <a:lnTo>
                    <a:pt x="215" y="198"/>
                  </a:lnTo>
                  <a:cubicBezTo>
                    <a:pt x="204" y="211"/>
                    <a:pt x="191" y="222"/>
                    <a:pt x="175" y="229"/>
                  </a:cubicBezTo>
                  <a:cubicBezTo>
                    <a:pt x="160" y="237"/>
                    <a:pt x="141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5" name="Freeform 24">
              <a:extLst>
                <a:ext uri="{FF2B5EF4-FFF2-40B4-BE49-F238E27FC236}">
                  <a16:creationId xmlns:a16="http://schemas.microsoft.com/office/drawing/2014/main" id="{E3EC0371-52E9-3023-44AF-B2DB3B648D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" y="364"/>
              <a:ext cx="17" cy="30"/>
            </a:xfrm>
            <a:custGeom>
              <a:avLst/>
              <a:gdLst>
                <a:gd name="T0" fmla="*/ 0 w 139"/>
                <a:gd name="T1" fmla="*/ 6 h 237"/>
                <a:gd name="T2" fmla="*/ 66 w 139"/>
                <a:gd name="T3" fmla="*/ 6 h 237"/>
                <a:gd name="T4" fmla="*/ 66 w 139"/>
                <a:gd name="T5" fmla="*/ 52 h 237"/>
                <a:gd name="T6" fmla="*/ 93 w 139"/>
                <a:gd name="T7" fmla="*/ 14 h 237"/>
                <a:gd name="T8" fmla="*/ 139 w 139"/>
                <a:gd name="T9" fmla="*/ 1 h 237"/>
                <a:gd name="T10" fmla="*/ 139 w 139"/>
                <a:gd name="T11" fmla="*/ 70 h 237"/>
                <a:gd name="T12" fmla="*/ 136 w 139"/>
                <a:gd name="T13" fmla="*/ 70 h 237"/>
                <a:gd name="T14" fmla="*/ 84 w 139"/>
                <a:gd name="T15" fmla="*/ 90 h 237"/>
                <a:gd name="T16" fmla="*/ 66 w 139"/>
                <a:gd name="T17" fmla="*/ 151 h 237"/>
                <a:gd name="T18" fmla="*/ 66 w 139"/>
                <a:gd name="T19" fmla="*/ 237 h 237"/>
                <a:gd name="T20" fmla="*/ 0 w 139"/>
                <a:gd name="T21" fmla="*/ 237 h 237"/>
                <a:gd name="T22" fmla="*/ 0 w 139"/>
                <a:gd name="T23" fmla="*/ 6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237">
                  <a:moveTo>
                    <a:pt x="0" y="6"/>
                  </a:moveTo>
                  <a:lnTo>
                    <a:pt x="66" y="6"/>
                  </a:lnTo>
                  <a:lnTo>
                    <a:pt x="66" y="52"/>
                  </a:lnTo>
                  <a:cubicBezTo>
                    <a:pt x="72" y="36"/>
                    <a:pt x="81" y="24"/>
                    <a:pt x="93" y="14"/>
                  </a:cubicBezTo>
                  <a:cubicBezTo>
                    <a:pt x="104" y="5"/>
                    <a:pt x="120" y="0"/>
                    <a:pt x="139" y="1"/>
                  </a:cubicBezTo>
                  <a:lnTo>
                    <a:pt x="139" y="70"/>
                  </a:lnTo>
                  <a:lnTo>
                    <a:pt x="136" y="70"/>
                  </a:lnTo>
                  <a:cubicBezTo>
                    <a:pt x="114" y="70"/>
                    <a:pt x="97" y="76"/>
                    <a:pt x="84" y="90"/>
                  </a:cubicBezTo>
                  <a:cubicBezTo>
                    <a:pt x="72" y="103"/>
                    <a:pt x="66" y="123"/>
                    <a:pt x="66" y="151"/>
                  </a:cubicBezTo>
                  <a:lnTo>
                    <a:pt x="66" y="237"/>
                  </a:lnTo>
                  <a:lnTo>
                    <a:pt x="0" y="237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6" name="Freeform 25">
              <a:extLst>
                <a:ext uri="{FF2B5EF4-FFF2-40B4-BE49-F238E27FC236}">
                  <a16:creationId xmlns:a16="http://schemas.microsoft.com/office/drawing/2014/main" id="{9942678A-936A-78F5-D2F3-AEAF642D40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6" y="364"/>
              <a:ext cx="26" cy="31"/>
            </a:xfrm>
            <a:custGeom>
              <a:avLst/>
              <a:gdLst>
                <a:gd name="T0" fmla="*/ 100 w 213"/>
                <a:gd name="T1" fmla="*/ 193 h 238"/>
                <a:gd name="T2" fmla="*/ 137 w 213"/>
                <a:gd name="T3" fmla="*/ 181 h 238"/>
                <a:gd name="T4" fmla="*/ 151 w 213"/>
                <a:gd name="T5" fmla="*/ 152 h 238"/>
                <a:gd name="T6" fmla="*/ 151 w 213"/>
                <a:gd name="T7" fmla="*/ 141 h 238"/>
                <a:gd name="T8" fmla="*/ 132 w 213"/>
                <a:gd name="T9" fmla="*/ 134 h 238"/>
                <a:gd name="T10" fmla="*/ 109 w 213"/>
                <a:gd name="T11" fmla="*/ 132 h 238"/>
                <a:gd name="T12" fmla="*/ 76 w 213"/>
                <a:gd name="T13" fmla="*/ 140 h 238"/>
                <a:gd name="T14" fmla="*/ 64 w 213"/>
                <a:gd name="T15" fmla="*/ 164 h 238"/>
                <a:gd name="T16" fmla="*/ 64 w 213"/>
                <a:gd name="T17" fmla="*/ 165 h 238"/>
                <a:gd name="T18" fmla="*/ 74 w 213"/>
                <a:gd name="T19" fmla="*/ 185 h 238"/>
                <a:gd name="T20" fmla="*/ 100 w 213"/>
                <a:gd name="T21" fmla="*/ 193 h 238"/>
                <a:gd name="T22" fmla="*/ 80 w 213"/>
                <a:gd name="T23" fmla="*/ 238 h 238"/>
                <a:gd name="T24" fmla="*/ 49 w 213"/>
                <a:gd name="T25" fmla="*/ 233 h 238"/>
                <a:gd name="T26" fmla="*/ 24 w 213"/>
                <a:gd name="T27" fmla="*/ 220 h 238"/>
                <a:gd name="T28" fmla="*/ 7 w 213"/>
                <a:gd name="T29" fmla="*/ 198 h 238"/>
                <a:gd name="T30" fmla="*/ 0 w 213"/>
                <a:gd name="T31" fmla="*/ 167 h 238"/>
                <a:gd name="T32" fmla="*/ 0 w 213"/>
                <a:gd name="T33" fmla="*/ 166 h 238"/>
                <a:gd name="T34" fmla="*/ 7 w 213"/>
                <a:gd name="T35" fmla="*/ 134 h 238"/>
                <a:gd name="T36" fmla="*/ 26 w 213"/>
                <a:gd name="T37" fmla="*/ 111 h 238"/>
                <a:gd name="T38" fmla="*/ 56 w 213"/>
                <a:gd name="T39" fmla="*/ 97 h 238"/>
                <a:gd name="T40" fmla="*/ 93 w 213"/>
                <a:gd name="T41" fmla="*/ 93 h 238"/>
                <a:gd name="T42" fmla="*/ 124 w 213"/>
                <a:gd name="T43" fmla="*/ 95 h 238"/>
                <a:gd name="T44" fmla="*/ 150 w 213"/>
                <a:gd name="T45" fmla="*/ 102 h 238"/>
                <a:gd name="T46" fmla="*/ 150 w 213"/>
                <a:gd name="T47" fmla="*/ 98 h 238"/>
                <a:gd name="T48" fmla="*/ 137 w 213"/>
                <a:gd name="T49" fmla="*/ 67 h 238"/>
                <a:gd name="T50" fmla="*/ 100 w 213"/>
                <a:gd name="T51" fmla="*/ 56 h 238"/>
                <a:gd name="T52" fmla="*/ 67 w 213"/>
                <a:gd name="T53" fmla="*/ 59 h 238"/>
                <a:gd name="T54" fmla="*/ 37 w 213"/>
                <a:gd name="T55" fmla="*/ 69 h 238"/>
                <a:gd name="T56" fmla="*/ 20 w 213"/>
                <a:gd name="T57" fmla="*/ 19 h 238"/>
                <a:gd name="T58" fmla="*/ 60 w 213"/>
                <a:gd name="T59" fmla="*/ 5 h 238"/>
                <a:gd name="T60" fmla="*/ 110 w 213"/>
                <a:gd name="T61" fmla="*/ 0 h 238"/>
                <a:gd name="T62" fmla="*/ 156 w 213"/>
                <a:gd name="T63" fmla="*/ 7 h 238"/>
                <a:gd name="T64" fmla="*/ 188 w 213"/>
                <a:gd name="T65" fmla="*/ 26 h 238"/>
                <a:gd name="T66" fmla="*/ 207 w 213"/>
                <a:gd name="T67" fmla="*/ 58 h 238"/>
                <a:gd name="T68" fmla="*/ 213 w 213"/>
                <a:gd name="T69" fmla="*/ 100 h 238"/>
                <a:gd name="T70" fmla="*/ 213 w 213"/>
                <a:gd name="T71" fmla="*/ 234 h 238"/>
                <a:gd name="T72" fmla="*/ 149 w 213"/>
                <a:gd name="T73" fmla="*/ 234 h 238"/>
                <a:gd name="T74" fmla="*/ 149 w 213"/>
                <a:gd name="T75" fmla="*/ 209 h 238"/>
                <a:gd name="T76" fmla="*/ 121 w 213"/>
                <a:gd name="T77" fmla="*/ 230 h 238"/>
                <a:gd name="T78" fmla="*/ 80 w 213"/>
                <a:gd name="T7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3" h="238">
                  <a:moveTo>
                    <a:pt x="100" y="193"/>
                  </a:moveTo>
                  <a:cubicBezTo>
                    <a:pt x="115" y="193"/>
                    <a:pt x="127" y="189"/>
                    <a:pt x="137" y="181"/>
                  </a:cubicBezTo>
                  <a:cubicBezTo>
                    <a:pt x="146" y="174"/>
                    <a:pt x="151" y="164"/>
                    <a:pt x="151" y="152"/>
                  </a:cubicBezTo>
                  <a:lnTo>
                    <a:pt x="151" y="141"/>
                  </a:lnTo>
                  <a:cubicBezTo>
                    <a:pt x="145" y="138"/>
                    <a:pt x="139" y="136"/>
                    <a:pt x="132" y="134"/>
                  </a:cubicBezTo>
                  <a:cubicBezTo>
                    <a:pt x="125" y="133"/>
                    <a:pt x="117" y="132"/>
                    <a:pt x="109" y="132"/>
                  </a:cubicBezTo>
                  <a:cubicBezTo>
                    <a:pt x="95" y="132"/>
                    <a:pt x="84" y="135"/>
                    <a:pt x="76" y="140"/>
                  </a:cubicBezTo>
                  <a:cubicBezTo>
                    <a:pt x="68" y="146"/>
                    <a:pt x="64" y="153"/>
                    <a:pt x="64" y="164"/>
                  </a:cubicBezTo>
                  <a:lnTo>
                    <a:pt x="64" y="165"/>
                  </a:lnTo>
                  <a:cubicBezTo>
                    <a:pt x="64" y="174"/>
                    <a:pt x="67" y="180"/>
                    <a:pt x="74" y="185"/>
                  </a:cubicBezTo>
                  <a:cubicBezTo>
                    <a:pt x="80" y="190"/>
                    <a:pt x="89" y="193"/>
                    <a:pt x="100" y="193"/>
                  </a:cubicBezTo>
                  <a:close/>
                  <a:moveTo>
                    <a:pt x="80" y="238"/>
                  </a:moveTo>
                  <a:cubicBezTo>
                    <a:pt x="69" y="238"/>
                    <a:pt x="59" y="236"/>
                    <a:pt x="49" y="233"/>
                  </a:cubicBezTo>
                  <a:cubicBezTo>
                    <a:pt x="39" y="230"/>
                    <a:pt x="31" y="226"/>
                    <a:pt x="24" y="220"/>
                  </a:cubicBezTo>
                  <a:cubicBezTo>
                    <a:pt x="17" y="214"/>
                    <a:pt x="11" y="206"/>
                    <a:pt x="7" y="198"/>
                  </a:cubicBezTo>
                  <a:cubicBezTo>
                    <a:pt x="3" y="189"/>
                    <a:pt x="0" y="179"/>
                    <a:pt x="0" y="167"/>
                  </a:cubicBezTo>
                  <a:lnTo>
                    <a:pt x="0" y="166"/>
                  </a:lnTo>
                  <a:cubicBezTo>
                    <a:pt x="0" y="154"/>
                    <a:pt x="3" y="143"/>
                    <a:pt x="7" y="134"/>
                  </a:cubicBezTo>
                  <a:cubicBezTo>
                    <a:pt x="12" y="124"/>
                    <a:pt x="18" y="117"/>
                    <a:pt x="26" y="111"/>
                  </a:cubicBezTo>
                  <a:cubicBezTo>
                    <a:pt x="35" y="105"/>
                    <a:pt x="44" y="100"/>
                    <a:pt x="56" y="97"/>
                  </a:cubicBezTo>
                  <a:cubicBezTo>
                    <a:pt x="67" y="94"/>
                    <a:pt x="80" y="93"/>
                    <a:pt x="93" y="93"/>
                  </a:cubicBezTo>
                  <a:cubicBezTo>
                    <a:pt x="105" y="93"/>
                    <a:pt x="116" y="94"/>
                    <a:pt x="124" y="95"/>
                  </a:cubicBezTo>
                  <a:cubicBezTo>
                    <a:pt x="133" y="97"/>
                    <a:pt x="142" y="99"/>
                    <a:pt x="150" y="102"/>
                  </a:cubicBezTo>
                  <a:lnTo>
                    <a:pt x="150" y="98"/>
                  </a:lnTo>
                  <a:cubicBezTo>
                    <a:pt x="150" y="85"/>
                    <a:pt x="146" y="74"/>
                    <a:pt x="137" y="67"/>
                  </a:cubicBezTo>
                  <a:cubicBezTo>
                    <a:pt x="129" y="60"/>
                    <a:pt x="117" y="56"/>
                    <a:pt x="100" y="56"/>
                  </a:cubicBezTo>
                  <a:cubicBezTo>
                    <a:pt x="88" y="56"/>
                    <a:pt x="77" y="57"/>
                    <a:pt x="67" y="59"/>
                  </a:cubicBezTo>
                  <a:cubicBezTo>
                    <a:pt x="57" y="61"/>
                    <a:pt x="47" y="65"/>
                    <a:pt x="37" y="69"/>
                  </a:cubicBezTo>
                  <a:lnTo>
                    <a:pt x="20" y="19"/>
                  </a:lnTo>
                  <a:cubicBezTo>
                    <a:pt x="33" y="13"/>
                    <a:pt x="46" y="9"/>
                    <a:pt x="60" y="5"/>
                  </a:cubicBezTo>
                  <a:cubicBezTo>
                    <a:pt x="74" y="2"/>
                    <a:pt x="90" y="0"/>
                    <a:pt x="110" y="0"/>
                  </a:cubicBezTo>
                  <a:cubicBezTo>
                    <a:pt x="128" y="0"/>
                    <a:pt x="143" y="2"/>
                    <a:pt x="156" y="7"/>
                  </a:cubicBezTo>
                  <a:cubicBezTo>
                    <a:pt x="169" y="11"/>
                    <a:pt x="179" y="18"/>
                    <a:pt x="188" y="26"/>
                  </a:cubicBezTo>
                  <a:cubicBezTo>
                    <a:pt x="196" y="35"/>
                    <a:pt x="203" y="45"/>
                    <a:pt x="207" y="58"/>
                  </a:cubicBezTo>
                  <a:cubicBezTo>
                    <a:pt x="211" y="70"/>
                    <a:pt x="213" y="84"/>
                    <a:pt x="213" y="100"/>
                  </a:cubicBezTo>
                  <a:lnTo>
                    <a:pt x="213" y="234"/>
                  </a:lnTo>
                  <a:lnTo>
                    <a:pt x="149" y="234"/>
                  </a:lnTo>
                  <a:lnTo>
                    <a:pt x="149" y="209"/>
                  </a:lnTo>
                  <a:cubicBezTo>
                    <a:pt x="141" y="217"/>
                    <a:pt x="132" y="225"/>
                    <a:pt x="121" y="230"/>
                  </a:cubicBezTo>
                  <a:cubicBezTo>
                    <a:pt x="109" y="235"/>
                    <a:pt x="96" y="238"/>
                    <a:pt x="80" y="2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7" name="Freeform 26">
              <a:extLst>
                <a:ext uri="{FF2B5EF4-FFF2-40B4-BE49-F238E27FC236}">
                  <a16:creationId xmlns:a16="http://schemas.microsoft.com/office/drawing/2014/main" id="{D2123D70-2A4F-66E3-DFBF-2BE2DF2CB8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8" y="364"/>
              <a:ext cx="26" cy="31"/>
            </a:xfrm>
            <a:custGeom>
              <a:avLst/>
              <a:gdLst>
                <a:gd name="T0" fmla="*/ 120 w 215"/>
                <a:gd name="T1" fmla="*/ 241 h 241"/>
                <a:gd name="T2" fmla="*/ 72 w 215"/>
                <a:gd name="T3" fmla="*/ 231 h 241"/>
                <a:gd name="T4" fmla="*/ 34 w 215"/>
                <a:gd name="T5" fmla="*/ 206 h 241"/>
                <a:gd name="T6" fmla="*/ 9 w 215"/>
                <a:gd name="T7" fmla="*/ 168 h 241"/>
                <a:gd name="T8" fmla="*/ 0 w 215"/>
                <a:gd name="T9" fmla="*/ 121 h 241"/>
                <a:gd name="T10" fmla="*/ 0 w 215"/>
                <a:gd name="T11" fmla="*/ 121 h 241"/>
                <a:gd name="T12" fmla="*/ 9 w 215"/>
                <a:gd name="T13" fmla="*/ 74 h 241"/>
                <a:gd name="T14" fmla="*/ 34 w 215"/>
                <a:gd name="T15" fmla="*/ 36 h 241"/>
                <a:gd name="T16" fmla="*/ 72 w 215"/>
                <a:gd name="T17" fmla="*/ 10 h 241"/>
                <a:gd name="T18" fmla="*/ 121 w 215"/>
                <a:gd name="T19" fmla="*/ 0 h 241"/>
                <a:gd name="T20" fmla="*/ 175 w 215"/>
                <a:gd name="T21" fmla="*/ 11 h 241"/>
                <a:gd name="T22" fmla="*/ 213 w 215"/>
                <a:gd name="T23" fmla="*/ 39 h 241"/>
                <a:gd name="T24" fmla="*/ 173 w 215"/>
                <a:gd name="T25" fmla="*/ 82 h 241"/>
                <a:gd name="T26" fmla="*/ 150 w 215"/>
                <a:gd name="T27" fmla="*/ 64 h 241"/>
                <a:gd name="T28" fmla="*/ 121 w 215"/>
                <a:gd name="T29" fmla="*/ 57 h 241"/>
                <a:gd name="T30" fmla="*/ 98 w 215"/>
                <a:gd name="T31" fmla="*/ 62 h 241"/>
                <a:gd name="T32" fmla="*/ 80 w 215"/>
                <a:gd name="T33" fmla="*/ 75 h 241"/>
                <a:gd name="T34" fmla="*/ 69 w 215"/>
                <a:gd name="T35" fmla="*/ 95 h 241"/>
                <a:gd name="T36" fmla="*/ 65 w 215"/>
                <a:gd name="T37" fmla="*/ 120 h 241"/>
                <a:gd name="T38" fmla="*/ 65 w 215"/>
                <a:gd name="T39" fmla="*/ 121 h 241"/>
                <a:gd name="T40" fmla="*/ 69 w 215"/>
                <a:gd name="T41" fmla="*/ 146 h 241"/>
                <a:gd name="T42" fmla="*/ 81 w 215"/>
                <a:gd name="T43" fmla="*/ 166 h 241"/>
                <a:gd name="T44" fmla="*/ 99 w 215"/>
                <a:gd name="T45" fmla="*/ 179 h 241"/>
                <a:gd name="T46" fmla="*/ 123 w 215"/>
                <a:gd name="T47" fmla="*/ 184 h 241"/>
                <a:gd name="T48" fmla="*/ 152 w 215"/>
                <a:gd name="T49" fmla="*/ 178 h 241"/>
                <a:gd name="T50" fmla="*/ 176 w 215"/>
                <a:gd name="T51" fmla="*/ 160 h 241"/>
                <a:gd name="T52" fmla="*/ 215 w 215"/>
                <a:gd name="T53" fmla="*/ 199 h 241"/>
                <a:gd name="T54" fmla="*/ 176 w 215"/>
                <a:gd name="T55" fmla="*/ 229 h 241"/>
                <a:gd name="T56" fmla="*/ 120 w 215"/>
                <a:gd name="T5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5" h="241">
                  <a:moveTo>
                    <a:pt x="120" y="241"/>
                  </a:moveTo>
                  <a:cubicBezTo>
                    <a:pt x="103" y="241"/>
                    <a:pt x="87" y="238"/>
                    <a:pt x="72" y="231"/>
                  </a:cubicBezTo>
                  <a:cubicBezTo>
                    <a:pt x="57" y="225"/>
                    <a:pt x="45" y="216"/>
                    <a:pt x="34" y="206"/>
                  </a:cubicBezTo>
                  <a:cubicBezTo>
                    <a:pt x="23" y="195"/>
                    <a:pt x="15" y="182"/>
                    <a:pt x="9" y="168"/>
                  </a:cubicBezTo>
                  <a:cubicBezTo>
                    <a:pt x="3" y="153"/>
                    <a:pt x="0" y="138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9" y="74"/>
                  </a:cubicBezTo>
                  <a:cubicBezTo>
                    <a:pt x="15" y="59"/>
                    <a:pt x="23" y="47"/>
                    <a:pt x="34" y="36"/>
                  </a:cubicBezTo>
                  <a:cubicBezTo>
                    <a:pt x="45" y="25"/>
                    <a:pt x="57" y="16"/>
                    <a:pt x="72" y="10"/>
                  </a:cubicBezTo>
                  <a:cubicBezTo>
                    <a:pt x="87" y="4"/>
                    <a:pt x="103" y="0"/>
                    <a:pt x="121" y="0"/>
                  </a:cubicBezTo>
                  <a:cubicBezTo>
                    <a:pt x="143" y="0"/>
                    <a:pt x="161" y="4"/>
                    <a:pt x="175" y="11"/>
                  </a:cubicBezTo>
                  <a:cubicBezTo>
                    <a:pt x="190" y="18"/>
                    <a:pt x="202" y="27"/>
                    <a:pt x="213" y="39"/>
                  </a:cubicBezTo>
                  <a:lnTo>
                    <a:pt x="173" y="82"/>
                  </a:lnTo>
                  <a:cubicBezTo>
                    <a:pt x="166" y="74"/>
                    <a:pt x="158" y="68"/>
                    <a:pt x="150" y="64"/>
                  </a:cubicBezTo>
                  <a:cubicBezTo>
                    <a:pt x="142" y="59"/>
                    <a:pt x="132" y="57"/>
                    <a:pt x="121" y="57"/>
                  </a:cubicBezTo>
                  <a:cubicBezTo>
                    <a:pt x="112" y="57"/>
                    <a:pt x="105" y="58"/>
                    <a:pt x="98" y="62"/>
                  </a:cubicBezTo>
                  <a:cubicBezTo>
                    <a:pt x="91" y="65"/>
                    <a:pt x="85" y="70"/>
                    <a:pt x="80" y="75"/>
                  </a:cubicBezTo>
                  <a:cubicBezTo>
                    <a:pt x="75" y="81"/>
                    <a:pt x="71" y="88"/>
                    <a:pt x="69" y="95"/>
                  </a:cubicBezTo>
                  <a:cubicBezTo>
                    <a:pt x="66" y="103"/>
                    <a:pt x="65" y="111"/>
                    <a:pt x="65" y="120"/>
                  </a:cubicBezTo>
                  <a:lnTo>
                    <a:pt x="65" y="121"/>
                  </a:lnTo>
                  <a:cubicBezTo>
                    <a:pt x="65" y="129"/>
                    <a:pt x="66" y="138"/>
                    <a:pt x="69" y="146"/>
                  </a:cubicBezTo>
                  <a:cubicBezTo>
                    <a:pt x="71" y="153"/>
                    <a:pt x="75" y="160"/>
                    <a:pt x="81" y="166"/>
                  </a:cubicBezTo>
                  <a:cubicBezTo>
                    <a:pt x="86" y="172"/>
                    <a:pt x="92" y="176"/>
                    <a:pt x="99" y="179"/>
                  </a:cubicBezTo>
                  <a:cubicBezTo>
                    <a:pt x="106" y="183"/>
                    <a:pt x="114" y="184"/>
                    <a:pt x="123" y="184"/>
                  </a:cubicBezTo>
                  <a:cubicBezTo>
                    <a:pt x="134" y="184"/>
                    <a:pt x="144" y="182"/>
                    <a:pt x="152" y="178"/>
                  </a:cubicBezTo>
                  <a:cubicBezTo>
                    <a:pt x="160" y="173"/>
                    <a:pt x="168" y="167"/>
                    <a:pt x="176" y="160"/>
                  </a:cubicBezTo>
                  <a:lnTo>
                    <a:pt x="215" y="199"/>
                  </a:lnTo>
                  <a:cubicBezTo>
                    <a:pt x="203" y="211"/>
                    <a:pt x="191" y="221"/>
                    <a:pt x="176" y="229"/>
                  </a:cubicBezTo>
                  <a:cubicBezTo>
                    <a:pt x="162" y="237"/>
                    <a:pt x="143" y="241"/>
                    <a:pt x="120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8" name="Freeform 27">
              <a:extLst>
                <a:ext uri="{FF2B5EF4-FFF2-40B4-BE49-F238E27FC236}">
                  <a16:creationId xmlns:a16="http://schemas.microsoft.com/office/drawing/2014/main" id="{0B673FAE-ADE0-E506-571B-FAB3959D8B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0" y="354"/>
              <a:ext cx="8" cy="40"/>
            </a:xfrm>
            <a:custGeom>
              <a:avLst/>
              <a:gdLst>
                <a:gd name="T0" fmla="*/ 1 w 68"/>
                <a:gd name="T1" fmla="*/ 84 h 315"/>
                <a:gd name="T2" fmla="*/ 67 w 68"/>
                <a:gd name="T3" fmla="*/ 84 h 315"/>
                <a:gd name="T4" fmla="*/ 67 w 68"/>
                <a:gd name="T5" fmla="*/ 315 h 315"/>
                <a:gd name="T6" fmla="*/ 1 w 68"/>
                <a:gd name="T7" fmla="*/ 315 h 315"/>
                <a:gd name="T8" fmla="*/ 1 w 68"/>
                <a:gd name="T9" fmla="*/ 84 h 315"/>
                <a:gd name="T10" fmla="*/ 0 w 68"/>
                <a:gd name="T11" fmla="*/ 0 h 315"/>
                <a:gd name="T12" fmla="*/ 68 w 68"/>
                <a:gd name="T13" fmla="*/ 0 h 315"/>
                <a:gd name="T14" fmla="*/ 68 w 68"/>
                <a:gd name="T15" fmla="*/ 58 h 315"/>
                <a:gd name="T16" fmla="*/ 0 w 68"/>
                <a:gd name="T17" fmla="*/ 58 h 315"/>
                <a:gd name="T18" fmla="*/ 0 w 68"/>
                <a:gd name="T1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315">
                  <a:moveTo>
                    <a:pt x="1" y="84"/>
                  </a:moveTo>
                  <a:lnTo>
                    <a:pt x="67" y="84"/>
                  </a:lnTo>
                  <a:lnTo>
                    <a:pt x="67" y="315"/>
                  </a:lnTo>
                  <a:lnTo>
                    <a:pt x="1" y="315"/>
                  </a:lnTo>
                  <a:lnTo>
                    <a:pt x="1" y="84"/>
                  </a:lnTo>
                  <a:close/>
                  <a:moveTo>
                    <a:pt x="0" y="0"/>
                  </a:moveTo>
                  <a:lnTo>
                    <a:pt x="68" y="0"/>
                  </a:lnTo>
                  <a:lnTo>
                    <a:pt x="68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9" name="Freeform 28">
              <a:extLst>
                <a:ext uri="{FF2B5EF4-FFF2-40B4-BE49-F238E27FC236}">
                  <a16:creationId xmlns:a16="http://schemas.microsoft.com/office/drawing/2014/main" id="{67BC434E-9CDF-0DE9-3665-AEF734697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4" y="352"/>
              <a:ext cx="31" cy="43"/>
            </a:xfrm>
            <a:custGeom>
              <a:avLst/>
              <a:gdLst>
                <a:gd name="T0" fmla="*/ 149 w 250"/>
                <a:gd name="T1" fmla="*/ 0 h 338"/>
                <a:gd name="T2" fmla="*/ 205 w 250"/>
                <a:gd name="T3" fmla="*/ 25 h 338"/>
                <a:gd name="T4" fmla="*/ 150 w 250"/>
                <a:gd name="T5" fmla="*/ 76 h 338"/>
                <a:gd name="T6" fmla="*/ 100 w 250"/>
                <a:gd name="T7" fmla="*/ 76 h 338"/>
                <a:gd name="T8" fmla="*/ 149 w 250"/>
                <a:gd name="T9" fmla="*/ 0 h 338"/>
                <a:gd name="T10" fmla="*/ 126 w 250"/>
                <a:gd name="T11" fmla="*/ 281 h 338"/>
                <a:gd name="T12" fmla="*/ 151 w 250"/>
                <a:gd name="T13" fmla="*/ 276 h 338"/>
                <a:gd name="T14" fmla="*/ 169 w 250"/>
                <a:gd name="T15" fmla="*/ 263 h 338"/>
                <a:gd name="T16" fmla="*/ 181 w 250"/>
                <a:gd name="T17" fmla="*/ 243 h 338"/>
                <a:gd name="T18" fmla="*/ 185 w 250"/>
                <a:gd name="T19" fmla="*/ 218 h 338"/>
                <a:gd name="T20" fmla="*/ 185 w 250"/>
                <a:gd name="T21" fmla="*/ 218 h 338"/>
                <a:gd name="T22" fmla="*/ 181 w 250"/>
                <a:gd name="T23" fmla="*/ 193 h 338"/>
                <a:gd name="T24" fmla="*/ 169 w 250"/>
                <a:gd name="T25" fmla="*/ 173 h 338"/>
                <a:gd name="T26" fmla="*/ 149 w 250"/>
                <a:gd name="T27" fmla="*/ 159 h 338"/>
                <a:gd name="T28" fmla="*/ 125 w 250"/>
                <a:gd name="T29" fmla="*/ 154 h 338"/>
                <a:gd name="T30" fmla="*/ 99 w 250"/>
                <a:gd name="T31" fmla="*/ 159 h 338"/>
                <a:gd name="T32" fmla="*/ 81 w 250"/>
                <a:gd name="T33" fmla="*/ 172 h 338"/>
                <a:gd name="T34" fmla="*/ 69 w 250"/>
                <a:gd name="T35" fmla="*/ 192 h 338"/>
                <a:gd name="T36" fmla="*/ 65 w 250"/>
                <a:gd name="T37" fmla="*/ 217 h 338"/>
                <a:gd name="T38" fmla="*/ 65 w 250"/>
                <a:gd name="T39" fmla="*/ 218 h 338"/>
                <a:gd name="T40" fmla="*/ 69 w 250"/>
                <a:gd name="T41" fmla="*/ 242 h 338"/>
                <a:gd name="T42" fmla="*/ 82 w 250"/>
                <a:gd name="T43" fmla="*/ 262 h 338"/>
                <a:gd name="T44" fmla="*/ 101 w 250"/>
                <a:gd name="T45" fmla="*/ 276 h 338"/>
                <a:gd name="T46" fmla="*/ 126 w 250"/>
                <a:gd name="T47" fmla="*/ 281 h 338"/>
                <a:gd name="T48" fmla="*/ 125 w 250"/>
                <a:gd name="T49" fmla="*/ 338 h 338"/>
                <a:gd name="T50" fmla="*/ 75 w 250"/>
                <a:gd name="T51" fmla="*/ 328 h 338"/>
                <a:gd name="T52" fmla="*/ 36 w 250"/>
                <a:gd name="T53" fmla="*/ 303 h 338"/>
                <a:gd name="T54" fmla="*/ 10 w 250"/>
                <a:gd name="T55" fmla="*/ 265 h 338"/>
                <a:gd name="T56" fmla="*/ 0 w 250"/>
                <a:gd name="T57" fmla="*/ 218 h 338"/>
                <a:gd name="T58" fmla="*/ 0 w 250"/>
                <a:gd name="T59" fmla="*/ 218 h 338"/>
                <a:gd name="T60" fmla="*/ 10 w 250"/>
                <a:gd name="T61" fmla="*/ 171 h 338"/>
                <a:gd name="T62" fmla="*/ 36 w 250"/>
                <a:gd name="T63" fmla="*/ 133 h 338"/>
                <a:gd name="T64" fmla="*/ 76 w 250"/>
                <a:gd name="T65" fmla="*/ 107 h 338"/>
                <a:gd name="T66" fmla="*/ 126 w 250"/>
                <a:gd name="T67" fmla="*/ 97 h 338"/>
                <a:gd name="T68" fmla="*/ 175 w 250"/>
                <a:gd name="T69" fmla="*/ 107 h 338"/>
                <a:gd name="T70" fmla="*/ 214 w 250"/>
                <a:gd name="T71" fmla="*/ 132 h 338"/>
                <a:gd name="T72" fmla="*/ 241 w 250"/>
                <a:gd name="T73" fmla="*/ 170 h 338"/>
                <a:gd name="T74" fmla="*/ 250 w 250"/>
                <a:gd name="T75" fmla="*/ 217 h 338"/>
                <a:gd name="T76" fmla="*/ 250 w 250"/>
                <a:gd name="T77" fmla="*/ 218 h 338"/>
                <a:gd name="T78" fmla="*/ 241 w 250"/>
                <a:gd name="T79" fmla="*/ 264 h 338"/>
                <a:gd name="T80" fmla="*/ 214 w 250"/>
                <a:gd name="T81" fmla="*/ 302 h 338"/>
                <a:gd name="T82" fmla="*/ 175 w 250"/>
                <a:gd name="T83" fmla="*/ 328 h 338"/>
                <a:gd name="T84" fmla="*/ 125 w 250"/>
                <a:gd name="T85" fmla="*/ 33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0" h="338">
                  <a:moveTo>
                    <a:pt x="149" y="0"/>
                  </a:moveTo>
                  <a:lnTo>
                    <a:pt x="205" y="25"/>
                  </a:lnTo>
                  <a:lnTo>
                    <a:pt x="150" y="76"/>
                  </a:lnTo>
                  <a:lnTo>
                    <a:pt x="100" y="76"/>
                  </a:lnTo>
                  <a:lnTo>
                    <a:pt x="149" y="0"/>
                  </a:lnTo>
                  <a:close/>
                  <a:moveTo>
                    <a:pt x="126" y="281"/>
                  </a:moveTo>
                  <a:cubicBezTo>
                    <a:pt x="135" y="281"/>
                    <a:pt x="143" y="280"/>
                    <a:pt x="151" y="276"/>
                  </a:cubicBezTo>
                  <a:cubicBezTo>
                    <a:pt x="158" y="273"/>
                    <a:pt x="164" y="269"/>
                    <a:pt x="169" y="263"/>
                  </a:cubicBezTo>
                  <a:cubicBezTo>
                    <a:pt x="175" y="257"/>
                    <a:pt x="179" y="250"/>
                    <a:pt x="181" y="243"/>
                  </a:cubicBezTo>
                  <a:cubicBezTo>
                    <a:pt x="184" y="235"/>
                    <a:pt x="185" y="227"/>
                    <a:pt x="185" y="218"/>
                  </a:cubicBezTo>
                  <a:lnTo>
                    <a:pt x="185" y="218"/>
                  </a:lnTo>
                  <a:cubicBezTo>
                    <a:pt x="185" y="209"/>
                    <a:pt x="184" y="201"/>
                    <a:pt x="181" y="193"/>
                  </a:cubicBezTo>
                  <a:cubicBezTo>
                    <a:pt x="178" y="186"/>
                    <a:pt x="174" y="179"/>
                    <a:pt x="169" y="173"/>
                  </a:cubicBezTo>
                  <a:cubicBezTo>
                    <a:pt x="163" y="167"/>
                    <a:pt x="157" y="162"/>
                    <a:pt x="149" y="159"/>
                  </a:cubicBezTo>
                  <a:cubicBezTo>
                    <a:pt x="142" y="156"/>
                    <a:pt x="134" y="154"/>
                    <a:pt x="125" y="154"/>
                  </a:cubicBezTo>
                  <a:cubicBezTo>
                    <a:pt x="115" y="154"/>
                    <a:pt x="107" y="155"/>
                    <a:pt x="99" y="159"/>
                  </a:cubicBezTo>
                  <a:cubicBezTo>
                    <a:pt x="92" y="162"/>
                    <a:pt x="86" y="167"/>
                    <a:pt x="81" y="172"/>
                  </a:cubicBezTo>
                  <a:cubicBezTo>
                    <a:pt x="76" y="178"/>
                    <a:pt x="72" y="185"/>
                    <a:pt x="69" y="192"/>
                  </a:cubicBezTo>
                  <a:cubicBezTo>
                    <a:pt x="66" y="200"/>
                    <a:pt x="65" y="208"/>
                    <a:pt x="65" y="217"/>
                  </a:cubicBezTo>
                  <a:lnTo>
                    <a:pt x="65" y="218"/>
                  </a:lnTo>
                  <a:cubicBezTo>
                    <a:pt x="65" y="226"/>
                    <a:pt x="66" y="234"/>
                    <a:pt x="69" y="242"/>
                  </a:cubicBezTo>
                  <a:cubicBezTo>
                    <a:pt x="72" y="250"/>
                    <a:pt x="76" y="256"/>
                    <a:pt x="82" y="262"/>
                  </a:cubicBezTo>
                  <a:cubicBezTo>
                    <a:pt x="87" y="268"/>
                    <a:pt x="93" y="273"/>
                    <a:pt x="101" y="276"/>
                  </a:cubicBezTo>
                  <a:cubicBezTo>
                    <a:pt x="108" y="280"/>
                    <a:pt x="116" y="281"/>
                    <a:pt x="126" y="281"/>
                  </a:cubicBezTo>
                  <a:close/>
                  <a:moveTo>
                    <a:pt x="125" y="338"/>
                  </a:moveTo>
                  <a:cubicBezTo>
                    <a:pt x="107" y="338"/>
                    <a:pt x="90" y="335"/>
                    <a:pt x="75" y="328"/>
                  </a:cubicBezTo>
                  <a:cubicBezTo>
                    <a:pt x="60" y="322"/>
                    <a:pt x="47" y="314"/>
                    <a:pt x="36" y="303"/>
                  </a:cubicBezTo>
                  <a:cubicBezTo>
                    <a:pt x="25" y="292"/>
                    <a:pt x="16" y="280"/>
                    <a:pt x="10" y="265"/>
                  </a:cubicBezTo>
                  <a:cubicBezTo>
                    <a:pt x="3" y="251"/>
                    <a:pt x="0" y="235"/>
                    <a:pt x="0" y="218"/>
                  </a:cubicBezTo>
                  <a:lnTo>
                    <a:pt x="0" y="218"/>
                  </a:lnTo>
                  <a:cubicBezTo>
                    <a:pt x="0" y="201"/>
                    <a:pt x="3" y="185"/>
                    <a:pt x="10" y="171"/>
                  </a:cubicBezTo>
                  <a:cubicBezTo>
                    <a:pt x="16" y="156"/>
                    <a:pt x="25" y="144"/>
                    <a:pt x="36" y="133"/>
                  </a:cubicBezTo>
                  <a:cubicBezTo>
                    <a:pt x="47" y="122"/>
                    <a:pt x="60" y="113"/>
                    <a:pt x="76" y="107"/>
                  </a:cubicBezTo>
                  <a:cubicBezTo>
                    <a:pt x="91" y="101"/>
                    <a:pt x="107" y="97"/>
                    <a:pt x="126" y="97"/>
                  </a:cubicBezTo>
                  <a:cubicBezTo>
                    <a:pt x="143" y="97"/>
                    <a:pt x="160" y="100"/>
                    <a:pt x="175" y="107"/>
                  </a:cubicBezTo>
                  <a:cubicBezTo>
                    <a:pt x="190" y="113"/>
                    <a:pt x="203" y="121"/>
                    <a:pt x="214" y="132"/>
                  </a:cubicBezTo>
                  <a:cubicBezTo>
                    <a:pt x="226" y="143"/>
                    <a:pt x="234" y="155"/>
                    <a:pt x="241" y="170"/>
                  </a:cubicBezTo>
                  <a:cubicBezTo>
                    <a:pt x="247" y="184"/>
                    <a:pt x="250" y="200"/>
                    <a:pt x="250" y="217"/>
                  </a:cubicBezTo>
                  <a:lnTo>
                    <a:pt x="250" y="218"/>
                  </a:lnTo>
                  <a:cubicBezTo>
                    <a:pt x="250" y="234"/>
                    <a:pt x="247" y="250"/>
                    <a:pt x="241" y="264"/>
                  </a:cubicBezTo>
                  <a:cubicBezTo>
                    <a:pt x="234" y="279"/>
                    <a:pt x="225" y="292"/>
                    <a:pt x="214" y="302"/>
                  </a:cubicBezTo>
                  <a:cubicBezTo>
                    <a:pt x="203" y="313"/>
                    <a:pt x="190" y="322"/>
                    <a:pt x="175" y="328"/>
                  </a:cubicBezTo>
                  <a:cubicBezTo>
                    <a:pt x="159" y="335"/>
                    <a:pt x="143" y="338"/>
                    <a:pt x="125" y="3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0" name="Freeform 29">
              <a:extLst>
                <a:ext uri="{FF2B5EF4-FFF2-40B4-BE49-F238E27FC236}">
                  <a16:creationId xmlns:a16="http://schemas.microsoft.com/office/drawing/2014/main" id="{42EBA3B1-845A-5921-0A19-FD376BE81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" y="364"/>
              <a:ext cx="26" cy="30"/>
            </a:xfrm>
            <a:custGeom>
              <a:avLst/>
              <a:gdLst>
                <a:gd name="T0" fmla="*/ 0 w 212"/>
                <a:gd name="T1" fmla="*/ 5 h 236"/>
                <a:gd name="T2" fmla="*/ 66 w 212"/>
                <a:gd name="T3" fmla="*/ 5 h 236"/>
                <a:gd name="T4" fmla="*/ 66 w 212"/>
                <a:gd name="T5" fmla="*/ 38 h 236"/>
                <a:gd name="T6" fmla="*/ 78 w 212"/>
                <a:gd name="T7" fmla="*/ 24 h 236"/>
                <a:gd name="T8" fmla="*/ 93 w 212"/>
                <a:gd name="T9" fmla="*/ 12 h 236"/>
                <a:gd name="T10" fmla="*/ 111 w 212"/>
                <a:gd name="T11" fmla="*/ 3 h 236"/>
                <a:gd name="T12" fmla="*/ 134 w 212"/>
                <a:gd name="T13" fmla="*/ 0 h 236"/>
                <a:gd name="T14" fmla="*/ 191 w 212"/>
                <a:gd name="T15" fmla="*/ 23 h 236"/>
                <a:gd name="T16" fmla="*/ 212 w 212"/>
                <a:gd name="T17" fmla="*/ 86 h 236"/>
                <a:gd name="T18" fmla="*/ 212 w 212"/>
                <a:gd name="T19" fmla="*/ 236 h 236"/>
                <a:gd name="T20" fmla="*/ 146 w 212"/>
                <a:gd name="T21" fmla="*/ 236 h 236"/>
                <a:gd name="T22" fmla="*/ 146 w 212"/>
                <a:gd name="T23" fmla="*/ 107 h 236"/>
                <a:gd name="T24" fmla="*/ 136 w 212"/>
                <a:gd name="T25" fmla="*/ 72 h 236"/>
                <a:gd name="T26" fmla="*/ 107 w 212"/>
                <a:gd name="T27" fmla="*/ 60 h 236"/>
                <a:gd name="T28" fmla="*/ 77 w 212"/>
                <a:gd name="T29" fmla="*/ 72 h 236"/>
                <a:gd name="T30" fmla="*/ 66 w 212"/>
                <a:gd name="T31" fmla="*/ 107 h 236"/>
                <a:gd name="T32" fmla="*/ 66 w 212"/>
                <a:gd name="T33" fmla="*/ 236 h 236"/>
                <a:gd name="T34" fmla="*/ 0 w 212"/>
                <a:gd name="T35" fmla="*/ 236 h 236"/>
                <a:gd name="T36" fmla="*/ 0 w 212"/>
                <a:gd name="T37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2" h="236">
                  <a:moveTo>
                    <a:pt x="0" y="5"/>
                  </a:moveTo>
                  <a:lnTo>
                    <a:pt x="66" y="5"/>
                  </a:lnTo>
                  <a:lnTo>
                    <a:pt x="66" y="38"/>
                  </a:lnTo>
                  <a:cubicBezTo>
                    <a:pt x="70" y="33"/>
                    <a:pt x="74" y="28"/>
                    <a:pt x="78" y="24"/>
                  </a:cubicBezTo>
                  <a:cubicBezTo>
                    <a:pt x="83" y="19"/>
                    <a:pt x="88" y="15"/>
                    <a:pt x="93" y="12"/>
                  </a:cubicBezTo>
                  <a:cubicBezTo>
                    <a:pt x="98" y="8"/>
                    <a:pt x="105" y="5"/>
                    <a:pt x="111" y="3"/>
                  </a:cubicBezTo>
                  <a:cubicBezTo>
                    <a:pt x="118" y="1"/>
                    <a:pt x="125" y="0"/>
                    <a:pt x="134" y="0"/>
                  </a:cubicBezTo>
                  <a:cubicBezTo>
                    <a:pt x="159" y="0"/>
                    <a:pt x="178" y="8"/>
                    <a:pt x="191" y="23"/>
                  </a:cubicBezTo>
                  <a:cubicBezTo>
                    <a:pt x="205" y="38"/>
                    <a:pt x="212" y="59"/>
                    <a:pt x="212" y="86"/>
                  </a:cubicBezTo>
                  <a:lnTo>
                    <a:pt x="212" y="236"/>
                  </a:lnTo>
                  <a:lnTo>
                    <a:pt x="146" y="236"/>
                  </a:lnTo>
                  <a:lnTo>
                    <a:pt x="146" y="107"/>
                  </a:lnTo>
                  <a:cubicBezTo>
                    <a:pt x="146" y="92"/>
                    <a:pt x="143" y="80"/>
                    <a:pt x="136" y="72"/>
                  </a:cubicBezTo>
                  <a:cubicBezTo>
                    <a:pt x="129" y="64"/>
                    <a:pt x="119" y="60"/>
                    <a:pt x="107" y="60"/>
                  </a:cubicBezTo>
                  <a:cubicBezTo>
                    <a:pt x="94" y="60"/>
                    <a:pt x="84" y="64"/>
                    <a:pt x="77" y="72"/>
                  </a:cubicBezTo>
                  <a:cubicBezTo>
                    <a:pt x="70" y="80"/>
                    <a:pt x="66" y="92"/>
                    <a:pt x="66" y="107"/>
                  </a:cubicBezTo>
                  <a:lnTo>
                    <a:pt x="66" y="236"/>
                  </a:lnTo>
                  <a:lnTo>
                    <a:pt x="0" y="236"/>
                  </a:lnTo>
                  <a:lnTo>
                    <a:pt x="0" y="5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1" name="Freeform 30">
              <a:extLst>
                <a:ext uri="{FF2B5EF4-FFF2-40B4-BE49-F238E27FC236}">
                  <a16:creationId xmlns:a16="http://schemas.microsoft.com/office/drawing/2014/main" id="{796A4D0B-BCCE-0513-FD3E-A89BE7033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" y="385"/>
              <a:ext cx="11" cy="18"/>
            </a:xfrm>
            <a:custGeom>
              <a:avLst/>
              <a:gdLst>
                <a:gd name="T0" fmla="*/ 0 w 85"/>
                <a:gd name="T1" fmla="*/ 111 h 138"/>
                <a:gd name="T2" fmla="*/ 42 w 85"/>
                <a:gd name="T3" fmla="*/ 69 h 138"/>
                <a:gd name="T4" fmla="*/ 15 w 85"/>
                <a:gd name="T5" fmla="*/ 69 h 138"/>
                <a:gd name="T6" fmla="*/ 15 w 85"/>
                <a:gd name="T7" fmla="*/ 0 h 138"/>
                <a:gd name="T8" fmla="*/ 85 w 85"/>
                <a:gd name="T9" fmla="*/ 0 h 138"/>
                <a:gd name="T10" fmla="*/ 85 w 85"/>
                <a:gd name="T11" fmla="*/ 58 h 138"/>
                <a:gd name="T12" fmla="*/ 64 w 85"/>
                <a:gd name="T13" fmla="*/ 119 h 138"/>
                <a:gd name="T14" fmla="*/ 5 w 85"/>
                <a:gd name="T15" fmla="*/ 138 h 138"/>
                <a:gd name="T16" fmla="*/ 0 w 85"/>
                <a:gd name="T17" fmla="*/ 111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138">
                  <a:moveTo>
                    <a:pt x="0" y="111"/>
                  </a:moveTo>
                  <a:cubicBezTo>
                    <a:pt x="30" y="108"/>
                    <a:pt x="44" y="94"/>
                    <a:pt x="42" y="69"/>
                  </a:cubicBezTo>
                  <a:lnTo>
                    <a:pt x="15" y="69"/>
                  </a:lnTo>
                  <a:lnTo>
                    <a:pt x="15" y="0"/>
                  </a:lnTo>
                  <a:lnTo>
                    <a:pt x="85" y="0"/>
                  </a:lnTo>
                  <a:lnTo>
                    <a:pt x="85" y="58"/>
                  </a:lnTo>
                  <a:cubicBezTo>
                    <a:pt x="85" y="86"/>
                    <a:pt x="78" y="107"/>
                    <a:pt x="64" y="119"/>
                  </a:cubicBezTo>
                  <a:cubicBezTo>
                    <a:pt x="50" y="132"/>
                    <a:pt x="31" y="138"/>
                    <a:pt x="5" y="138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2" name="Freeform 31">
              <a:extLst>
                <a:ext uri="{FF2B5EF4-FFF2-40B4-BE49-F238E27FC236}">
                  <a16:creationId xmlns:a16="http://schemas.microsoft.com/office/drawing/2014/main" id="{B221DF6A-4FE0-FF32-CAFA-3BD9BA337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2" y="414"/>
              <a:ext cx="31" cy="38"/>
            </a:xfrm>
            <a:custGeom>
              <a:avLst/>
              <a:gdLst>
                <a:gd name="T0" fmla="*/ 11 w 31"/>
                <a:gd name="T1" fmla="*/ 7 h 38"/>
                <a:gd name="T2" fmla="*/ 0 w 31"/>
                <a:gd name="T3" fmla="*/ 7 h 38"/>
                <a:gd name="T4" fmla="*/ 0 w 31"/>
                <a:gd name="T5" fmla="*/ 0 h 38"/>
                <a:gd name="T6" fmla="*/ 31 w 31"/>
                <a:gd name="T7" fmla="*/ 0 h 38"/>
                <a:gd name="T8" fmla="*/ 31 w 31"/>
                <a:gd name="T9" fmla="*/ 7 h 38"/>
                <a:gd name="T10" fmla="*/ 19 w 31"/>
                <a:gd name="T11" fmla="*/ 7 h 38"/>
                <a:gd name="T12" fmla="*/ 19 w 31"/>
                <a:gd name="T13" fmla="*/ 38 h 38"/>
                <a:gd name="T14" fmla="*/ 11 w 31"/>
                <a:gd name="T15" fmla="*/ 38 h 38"/>
                <a:gd name="T16" fmla="*/ 11 w 31"/>
                <a:gd name="T17" fmla="*/ 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8">
                  <a:moveTo>
                    <a:pt x="11" y="7"/>
                  </a:moveTo>
                  <a:lnTo>
                    <a:pt x="0" y="7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7"/>
                  </a:lnTo>
                  <a:lnTo>
                    <a:pt x="19" y="7"/>
                  </a:lnTo>
                  <a:lnTo>
                    <a:pt x="19" y="38"/>
                  </a:lnTo>
                  <a:lnTo>
                    <a:pt x="11" y="38"/>
                  </a:lnTo>
                  <a:lnTo>
                    <a:pt x="11" y="7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3" name="Freeform 32">
              <a:extLst>
                <a:ext uri="{FF2B5EF4-FFF2-40B4-BE49-F238E27FC236}">
                  <a16:creationId xmlns:a16="http://schemas.microsoft.com/office/drawing/2014/main" id="{C3C02C5F-387A-F33D-83B2-EF1EDB13D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8" y="422"/>
              <a:ext cx="17" cy="30"/>
            </a:xfrm>
            <a:custGeom>
              <a:avLst/>
              <a:gdLst>
                <a:gd name="T0" fmla="*/ 0 w 139"/>
                <a:gd name="T1" fmla="*/ 5 h 236"/>
                <a:gd name="T2" fmla="*/ 65 w 139"/>
                <a:gd name="T3" fmla="*/ 5 h 236"/>
                <a:gd name="T4" fmla="*/ 65 w 139"/>
                <a:gd name="T5" fmla="*/ 52 h 236"/>
                <a:gd name="T6" fmla="*/ 92 w 139"/>
                <a:gd name="T7" fmla="*/ 14 h 236"/>
                <a:gd name="T8" fmla="*/ 139 w 139"/>
                <a:gd name="T9" fmla="*/ 1 h 236"/>
                <a:gd name="T10" fmla="*/ 139 w 139"/>
                <a:gd name="T11" fmla="*/ 69 h 236"/>
                <a:gd name="T12" fmla="*/ 136 w 139"/>
                <a:gd name="T13" fmla="*/ 69 h 236"/>
                <a:gd name="T14" fmla="*/ 84 w 139"/>
                <a:gd name="T15" fmla="*/ 89 h 236"/>
                <a:gd name="T16" fmla="*/ 65 w 139"/>
                <a:gd name="T17" fmla="*/ 151 h 236"/>
                <a:gd name="T18" fmla="*/ 65 w 139"/>
                <a:gd name="T19" fmla="*/ 236 h 236"/>
                <a:gd name="T20" fmla="*/ 0 w 139"/>
                <a:gd name="T21" fmla="*/ 236 h 236"/>
                <a:gd name="T22" fmla="*/ 0 w 139"/>
                <a:gd name="T23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236">
                  <a:moveTo>
                    <a:pt x="0" y="5"/>
                  </a:moveTo>
                  <a:lnTo>
                    <a:pt x="65" y="5"/>
                  </a:lnTo>
                  <a:lnTo>
                    <a:pt x="65" y="52"/>
                  </a:lnTo>
                  <a:cubicBezTo>
                    <a:pt x="72" y="36"/>
                    <a:pt x="81" y="23"/>
                    <a:pt x="92" y="14"/>
                  </a:cubicBezTo>
                  <a:cubicBezTo>
                    <a:pt x="104" y="4"/>
                    <a:pt x="119" y="0"/>
                    <a:pt x="139" y="1"/>
                  </a:cubicBezTo>
                  <a:lnTo>
                    <a:pt x="139" y="69"/>
                  </a:lnTo>
                  <a:lnTo>
                    <a:pt x="136" y="69"/>
                  </a:lnTo>
                  <a:cubicBezTo>
                    <a:pt x="114" y="69"/>
                    <a:pt x="97" y="76"/>
                    <a:pt x="84" y="89"/>
                  </a:cubicBezTo>
                  <a:cubicBezTo>
                    <a:pt x="72" y="102"/>
                    <a:pt x="65" y="123"/>
                    <a:pt x="65" y="151"/>
                  </a:cubicBezTo>
                  <a:lnTo>
                    <a:pt x="65" y="236"/>
                  </a:lnTo>
                  <a:lnTo>
                    <a:pt x="0" y="236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4" name="Freeform 33">
              <a:extLst>
                <a:ext uri="{FF2B5EF4-FFF2-40B4-BE49-F238E27FC236}">
                  <a16:creationId xmlns:a16="http://schemas.microsoft.com/office/drawing/2014/main" id="{388C2B31-27AD-9008-F749-21CB20347C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9" y="422"/>
              <a:ext cx="26" cy="30"/>
            </a:xfrm>
            <a:custGeom>
              <a:avLst/>
              <a:gdLst>
                <a:gd name="T0" fmla="*/ 99 w 213"/>
                <a:gd name="T1" fmla="*/ 192 h 237"/>
                <a:gd name="T2" fmla="*/ 136 w 213"/>
                <a:gd name="T3" fmla="*/ 181 h 237"/>
                <a:gd name="T4" fmla="*/ 150 w 213"/>
                <a:gd name="T5" fmla="*/ 152 h 237"/>
                <a:gd name="T6" fmla="*/ 150 w 213"/>
                <a:gd name="T7" fmla="*/ 140 h 237"/>
                <a:gd name="T8" fmla="*/ 131 w 213"/>
                <a:gd name="T9" fmla="*/ 134 h 237"/>
                <a:gd name="T10" fmla="*/ 109 w 213"/>
                <a:gd name="T11" fmla="*/ 131 h 237"/>
                <a:gd name="T12" fmla="*/ 76 w 213"/>
                <a:gd name="T13" fmla="*/ 140 h 237"/>
                <a:gd name="T14" fmla="*/ 63 w 213"/>
                <a:gd name="T15" fmla="*/ 163 h 237"/>
                <a:gd name="T16" fmla="*/ 63 w 213"/>
                <a:gd name="T17" fmla="*/ 164 h 237"/>
                <a:gd name="T18" fmla="*/ 73 w 213"/>
                <a:gd name="T19" fmla="*/ 185 h 237"/>
                <a:gd name="T20" fmla="*/ 99 w 213"/>
                <a:gd name="T21" fmla="*/ 192 h 237"/>
                <a:gd name="T22" fmla="*/ 79 w 213"/>
                <a:gd name="T23" fmla="*/ 237 h 237"/>
                <a:gd name="T24" fmla="*/ 49 w 213"/>
                <a:gd name="T25" fmla="*/ 233 h 237"/>
                <a:gd name="T26" fmla="*/ 23 w 213"/>
                <a:gd name="T27" fmla="*/ 219 h 237"/>
                <a:gd name="T28" fmla="*/ 6 w 213"/>
                <a:gd name="T29" fmla="*/ 197 h 237"/>
                <a:gd name="T30" fmla="*/ 0 w 213"/>
                <a:gd name="T31" fmla="*/ 167 h 237"/>
                <a:gd name="T32" fmla="*/ 0 w 213"/>
                <a:gd name="T33" fmla="*/ 166 h 237"/>
                <a:gd name="T34" fmla="*/ 7 w 213"/>
                <a:gd name="T35" fmla="*/ 133 h 237"/>
                <a:gd name="T36" fmla="*/ 26 w 213"/>
                <a:gd name="T37" fmla="*/ 110 h 237"/>
                <a:gd name="T38" fmla="*/ 55 w 213"/>
                <a:gd name="T39" fmla="*/ 97 h 237"/>
                <a:gd name="T40" fmla="*/ 93 w 213"/>
                <a:gd name="T41" fmla="*/ 92 h 237"/>
                <a:gd name="T42" fmla="*/ 124 w 213"/>
                <a:gd name="T43" fmla="*/ 95 h 237"/>
                <a:gd name="T44" fmla="*/ 150 w 213"/>
                <a:gd name="T45" fmla="*/ 102 h 237"/>
                <a:gd name="T46" fmla="*/ 150 w 213"/>
                <a:gd name="T47" fmla="*/ 98 h 237"/>
                <a:gd name="T48" fmla="*/ 137 w 213"/>
                <a:gd name="T49" fmla="*/ 66 h 237"/>
                <a:gd name="T50" fmla="*/ 100 w 213"/>
                <a:gd name="T51" fmla="*/ 56 h 237"/>
                <a:gd name="T52" fmla="*/ 67 w 213"/>
                <a:gd name="T53" fmla="*/ 59 h 237"/>
                <a:gd name="T54" fmla="*/ 36 w 213"/>
                <a:gd name="T55" fmla="*/ 68 h 237"/>
                <a:gd name="T56" fmla="*/ 20 w 213"/>
                <a:gd name="T57" fmla="*/ 18 h 237"/>
                <a:gd name="T58" fmla="*/ 60 w 213"/>
                <a:gd name="T59" fmla="*/ 5 h 237"/>
                <a:gd name="T60" fmla="*/ 110 w 213"/>
                <a:gd name="T61" fmla="*/ 0 h 237"/>
                <a:gd name="T62" fmla="*/ 156 w 213"/>
                <a:gd name="T63" fmla="*/ 6 h 237"/>
                <a:gd name="T64" fmla="*/ 188 w 213"/>
                <a:gd name="T65" fmla="*/ 26 h 237"/>
                <a:gd name="T66" fmla="*/ 206 w 213"/>
                <a:gd name="T67" fmla="*/ 57 h 237"/>
                <a:gd name="T68" fmla="*/ 213 w 213"/>
                <a:gd name="T69" fmla="*/ 99 h 237"/>
                <a:gd name="T70" fmla="*/ 213 w 213"/>
                <a:gd name="T71" fmla="*/ 233 h 237"/>
                <a:gd name="T72" fmla="*/ 149 w 213"/>
                <a:gd name="T73" fmla="*/ 233 h 237"/>
                <a:gd name="T74" fmla="*/ 149 w 213"/>
                <a:gd name="T75" fmla="*/ 208 h 237"/>
                <a:gd name="T76" fmla="*/ 120 w 213"/>
                <a:gd name="T77" fmla="*/ 230 h 237"/>
                <a:gd name="T78" fmla="*/ 79 w 213"/>
                <a:gd name="T79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3" h="237">
                  <a:moveTo>
                    <a:pt x="99" y="192"/>
                  </a:moveTo>
                  <a:cubicBezTo>
                    <a:pt x="115" y="192"/>
                    <a:pt x="127" y="189"/>
                    <a:pt x="136" y="181"/>
                  </a:cubicBezTo>
                  <a:cubicBezTo>
                    <a:pt x="146" y="174"/>
                    <a:pt x="150" y="164"/>
                    <a:pt x="150" y="152"/>
                  </a:cubicBezTo>
                  <a:lnTo>
                    <a:pt x="150" y="140"/>
                  </a:lnTo>
                  <a:cubicBezTo>
                    <a:pt x="145" y="138"/>
                    <a:pt x="138" y="135"/>
                    <a:pt x="131" y="134"/>
                  </a:cubicBezTo>
                  <a:cubicBezTo>
                    <a:pt x="124" y="132"/>
                    <a:pt x="117" y="131"/>
                    <a:pt x="109" y="131"/>
                  </a:cubicBezTo>
                  <a:cubicBezTo>
                    <a:pt x="95" y="131"/>
                    <a:pt x="84" y="134"/>
                    <a:pt x="76" y="140"/>
                  </a:cubicBezTo>
                  <a:cubicBezTo>
                    <a:pt x="67" y="145"/>
                    <a:pt x="63" y="153"/>
                    <a:pt x="63" y="163"/>
                  </a:cubicBezTo>
                  <a:lnTo>
                    <a:pt x="63" y="164"/>
                  </a:lnTo>
                  <a:cubicBezTo>
                    <a:pt x="63" y="173"/>
                    <a:pt x="67" y="180"/>
                    <a:pt x="73" y="185"/>
                  </a:cubicBezTo>
                  <a:cubicBezTo>
                    <a:pt x="80" y="190"/>
                    <a:pt x="89" y="192"/>
                    <a:pt x="99" y="192"/>
                  </a:cubicBezTo>
                  <a:close/>
                  <a:moveTo>
                    <a:pt x="79" y="237"/>
                  </a:moveTo>
                  <a:cubicBezTo>
                    <a:pt x="68" y="237"/>
                    <a:pt x="58" y="236"/>
                    <a:pt x="49" y="233"/>
                  </a:cubicBezTo>
                  <a:cubicBezTo>
                    <a:pt x="39" y="230"/>
                    <a:pt x="31" y="225"/>
                    <a:pt x="23" y="219"/>
                  </a:cubicBezTo>
                  <a:cubicBezTo>
                    <a:pt x="16" y="213"/>
                    <a:pt x="11" y="206"/>
                    <a:pt x="6" y="197"/>
                  </a:cubicBezTo>
                  <a:cubicBezTo>
                    <a:pt x="2" y="188"/>
                    <a:pt x="0" y="178"/>
                    <a:pt x="0" y="167"/>
                  </a:cubicBezTo>
                  <a:lnTo>
                    <a:pt x="0" y="166"/>
                  </a:lnTo>
                  <a:cubicBezTo>
                    <a:pt x="0" y="153"/>
                    <a:pt x="2" y="142"/>
                    <a:pt x="7" y="133"/>
                  </a:cubicBezTo>
                  <a:cubicBezTo>
                    <a:pt x="12" y="124"/>
                    <a:pt x="18" y="116"/>
                    <a:pt x="26" y="110"/>
                  </a:cubicBezTo>
                  <a:cubicBezTo>
                    <a:pt x="34" y="104"/>
                    <a:pt x="44" y="100"/>
                    <a:pt x="55" y="97"/>
                  </a:cubicBezTo>
                  <a:cubicBezTo>
                    <a:pt x="67" y="94"/>
                    <a:pt x="79" y="92"/>
                    <a:pt x="93" y="92"/>
                  </a:cubicBezTo>
                  <a:cubicBezTo>
                    <a:pt x="105" y="92"/>
                    <a:pt x="115" y="93"/>
                    <a:pt x="124" y="95"/>
                  </a:cubicBezTo>
                  <a:cubicBezTo>
                    <a:pt x="133" y="97"/>
                    <a:pt x="141" y="99"/>
                    <a:pt x="150" y="102"/>
                  </a:cubicBezTo>
                  <a:lnTo>
                    <a:pt x="150" y="98"/>
                  </a:lnTo>
                  <a:cubicBezTo>
                    <a:pt x="150" y="84"/>
                    <a:pt x="145" y="74"/>
                    <a:pt x="137" y="66"/>
                  </a:cubicBezTo>
                  <a:cubicBezTo>
                    <a:pt x="129" y="59"/>
                    <a:pt x="116" y="56"/>
                    <a:pt x="100" y="56"/>
                  </a:cubicBezTo>
                  <a:cubicBezTo>
                    <a:pt x="87" y="56"/>
                    <a:pt x="76" y="57"/>
                    <a:pt x="67" y="59"/>
                  </a:cubicBezTo>
                  <a:cubicBezTo>
                    <a:pt x="57" y="61"/>
                    <a:pt x="47" y="64"/>
                    <a:pt x="36" y="68"/>
                  </a:cubicBezTo>
                  <a:lnTo>
                    <a:pt x="20" y="18"/>
                  </a:lnTo>
                  <a:cubicBezTo>
                    <a:pt x="33" y="13"/>
                    <a:pt x="46" y="8"/>
                    <a:pt x="60" y="5"/>
                  </a:cubicBezTo>
                  <a:cubicBezTo>
                    <a:pt x="73" y="1"/>
                    <a:pt x="90" y="0"/>
                    <a:pt x="110" y="0"/>
                  </a:cubicBezTo>
                  <a:cubicBezTo>
                    <a:pt x="128" y="0"/>
                    <a:pt x="143" y="2"/>
                    <a:pt x="156" y="6"/>
                  </a:cubicBezTo>
                  <a:cubicBezTo>
                    <a:pt x="169" y="11"/>
                    <a:pt x="179" y="17"/>
                    <a:pt x="188" y="26"/>
                  </a:cubicBezTo>
                  <a:cubicBezTo>
                    <a:pt x="196" y="34"/>
                    <a:pt x="202" y="45"/>
                    <a:pt x="206" y="57"/>
                  </a:cubicBezTo>
                  <a:cubicBezTo>
                    <a:pt x="211" y="70"/>
                    <a:pt x="213" y="84"/>
                    <a:pt x="213" y="99"/>
                  </a:cubicBezTo>
                  <a:lnTo>
                    <a:pt x="213" y="233"/>
                  </a:lnTo>
                  <a:lnTo>
                    <a:pt x="149" y="233"/>
                  </a:lnTo>
                  <a:lnTo>
                    <a:pt x="149" y="208"/>
                  </a:lnTo>
                  <a:cubicBezTo>
                    <a:pt x="141" y="217"/>
                    <a:pt x="132" y="224"/>
                    <a:pt x="120" y="230"/>
                  </a:cubicBezTo>
                  <a:cubicBezTo>
                    <a:pt x="109" y="235"/>
                    <a:pt x="95" y="237"/>
                    <a:pt x="79" y="237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5" name="Freeform 34">
              <a:extLst>
                <a:ext uri="{FF2B5EF4-FFF2-40B4-BE49-F238E27FC236}">
                  <a16:creationId xmlns:a16="http://schemas.microsoft.com/office/drawing/2014/main" id="{EE4ACA3E-8084-18F4-346C-E264D5BFF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2" y="422"/>
              <a:ext cx="26" cy="30"/>
            </a:xfrm>
            <a:custGeom>
              <a:avLst/>
              <a:gdLst>
                <a:gd name="T0" fmla="*/ 0 w 211"/>
                <a:gd name="T1" fmla="*/ 4 h 235"/>
                <a:gd name="T2" fmla="*/ 65 w 211"/>
                <a:gd name="T3" fmla="*/ 4 h 235"/>
                <a:gd name="T4" fmla="*/ 65 w 211"/>
                <a:gd name="T5" fmla="*/ 37 h 235"/>
                <a:gd name="T6" fmla="*/ 78 w 211"/>
                <a:gd name="T7" fmla="*/ 23 h 235"/>
                <a:gd name="T8" fmla="*/ 93 w 211"/>
                <a:gd name="T9" fmla="*/ 11 h 235"/>
                <a:gd name="T10" fmla="*/ 111 w 211"/>
                <a:gd name="T11" fmla="*/ 3 h 235"/>
                <a:gd name="T12" fmla="*/ 133 w 211"/>
                <a:gd name="T13" fmla="*/ 0 h 235"/>
                <a:gd name="T14" fmla="*/ 191 w 211"/>
                <a:gd name="T15" fmla="*/ 23 h 235"/>
                <a:gd name="T16" fmla="*/ 211 w 211"/>
                <a:gd name="T17" fmla="*/ 86 h 235"/>
                <a:gd name="T18" fmla="*/ 211 w 211"/>
                <a:gd name="T19" fmla="*/ 235 h 235"/>
                <a:gd name="T20" fmla="*/ 146 w 211"/>
                <a:gd name="T21" fmla="*/ 235 h 235"/>
                <a:gd name="T22" fmla="*/ 146 w 211"/>
                <a:gd name="T23" fmla="*/ 107 h 235"/>
                <a:gd name="T24" fmla="*/ 136 w 211"/>
                <a:gd name="T25" fmla="*/ 72 h 235"/>
                <a:gd name="T26" fmla="*/ 106 w 211"/>
                <a:gd name="T27" fmla="*/ 60 h 235"/>
                <a:gd name="T28" fmla="*/ 76 w 211"/>
                <a:gd name="T29" fmla="*/ 72 h 235"/>
                <a:gd name="T30" fmla="*/ 65 w 211"/>
                <a:gd name="T31" fmla="*/ 107 h 235"/>
                <a:gd name="T32" fmla="*/ 65 w 211"/>
                <a:gd name="T33" fmla="*/ 235 h 235"/>
                <a:gd name="T34" fmla="*/ 0 w 211"/>
                <a:gd name="T35" fmla="*/ 235 h 235"/>
                <a:gd name="T36" fmla="*/ 0 w 211"/>
                <a:gd name="T37" fmla="*/ 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1" h="235">
                  <a:moveTo>
                    <a:pt x="0" y="4"/>
                  </a:moveTo>
                  <a:lnTo>
                    <a:pt x="65" y="4"/>
                  </a:lnTo>
                  <a:lnTo>
                    <a:pt x="65" y="37"/>
                  </a:lnTo>
                  <a:cubicBezTo>
                    <a:pt x="69" y="32"/>
                    <a:pt x="73" y="28"/>
                    <a:pt x="78" y="23"/>
                  </a:cubicBezTo>
                  <a:cubicBezTo>
                    <a:pt x="82" y="19"/>
                    <a:pt x="87" y="15"/>
                    <a:pt x="93" y="11"/>
                  </a:cubicBezTo>
                  <a:cubicBezTo>
                    <a:pt x="98" y="8"/>
                    <a:pt x="104" y="5"/>
                    <a:pt x="111" y="3"/>
                  </a:cubicBezTo>
                  <a:cubicBezTo>
                    <a:pt x="117" y="1"/>
                    <a:pt x="125" y="0"/>
                    <a:pt x="133" y="0"/>
                  </a:cubicBezTo>
                  <a:cubicBezTo>
                    <a:pt x="158" y="0"/>
                    <a:pt x="177" y="8"/>
                    <a:pt x="191" y="23"/>
                  </a:cubicBezTo>
                  <a:cubicBezTo>
                    <a:pt x="205" y="38"/>
                    <a:pt x="211" y="59"/>
                    <a:pt x="211" y="86"/>
                  </a:cubicBezTo>
                  <a:lnTo>
                    <a:pt x="211" y="235"/>
                  </a:lnTo>
                  <a:lnTo>
                    <a:pt x="146" y="235"/>
                  </a:lnTo>
                  <a:lnTo>
                    <a:pt x="146" y="107"/>
                  </a:lnTo>
                  <a:cubicBezTo>
                    <a:pt x="146" y="91"/>
                    <a:pt x="143" y="80"/>
                    <a:pt x="136" y="72"/>
                  </a:cubicBezTo>
                  <a:cubicBezTo>
                    <a:pt x="129" y="64"/>
                    <a:pt x="119" y="60"/>
                    <a:pt x="106" y="60"/>
                  </a:cubicBezTo>
                  <a:cubicBezTo>
                    <a:pt x="94" y="60"/>
                    <a:pt x="84" y="64"/>
                    <a:pt x="76" y="72"/>
                  </a:cubicBezTo>
                  <a:cubicBezTo>
                    <a:pt x="69" y="80"/>
                    <a:pt x="65" y="91"/>
                    <a:pt x="65" y="107"/>
                  </a:cubicBezTo>
                  <a:lnTo>
                    <a:pt x="65" y="235"/>
                  </a:lnTo>
                  <a:lnTo>
                    <a:pt x="0" y="235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6" name="Freeform 35">
              <a:extLst>
                <a:ext uri="{FF2B5EF4-FFF2-40B4-BE49-F238E27FC236}">
                  <a16:creationId xmlns:a16="http://schemas.microsoft.com/office/drawing/2014/main" id="{1487D39D-971D-1D15-2962-79BDFD2D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3" y="422"/>
              <a:ext cx="23" cy="30"/>
            </a:xfrm>
            <a:custGeom>
              <a:avLst/>
              <a:gdLst>
                <a:gd name="T0" fmla="*/ 99 w 188"/>
                <a:gd name="T1" fmla="*/ 238 h 238"/>
                <a:gd name="T2" fmla="*/ 49 w 188"/>
                <a:gd name="T3" fmla="*/ 230 h 238"/>
                <a:gd name="T4" fmla="*/ 0 w 188"/>
                <a:gd name="T5" fmla="*/ 204 h 238"/>
                <a:gd name="T6" fmla="*/ 28 w 188"/>
                <a:gd name="T7" fmla="*/ 161 h 238"/>
                <a:gd name="T8" fmla="*/ 66 w 188"/>
                <a:gd name="T9" fmla="*/ 181 h 238"/>
                <a:gd name="T10" fmla="*/ 101 w 188"/>
                <a:gd name="T11" fmla="*/ 188 h 238"/>
                <a:gd name="T12" fmla="*/ 122 w 188"/>
                <a:gd name="T13" fmla="*/ 183 h 238"/>
                <a:gd name="T14" fmla="*/ 129 w 188"/>
                <a:gd name="T15" fmla="*/ 171 h 238"/>
                <a:gd name="T16" fmla="*/ 129 w 188"/>
                <a:gd name="T17" fmla="*/ 170 h 238"/>
                <a:gd name="T18" fmla="*/ 125 w 188"/>
                <a:gd name="T19" fmla="*/ 161 h 238"/>
                <a:gd name="T20" fmla="*/ 114 w 188"/>
                <a:gd name="T21" fmla="*/ 154 h 238"/>
                <a:gd name="T22" fmla="*/ 99 w 188"/>
                <a:gd name="T23" fmla="*/ 149 h 238"/>
                <a:gd name="T24" fmla="*/ 81 w 188"/>
                <a:gd name="T25" fmla="*/ 143 h 238"/>
                <a:gd name="T26" fmla="*/ 56 w 188"/>
                <a:gd name="T27" fmla="*/ 135 h 238"/>
                <a:gd name="T28" fmla="*/ 34 w 188"/>
                <a:gd name="T29" fmla="*/ 122 h 238"/>
                <a:gd name="T30" fmla="*/ 18 w 188"/>
                <a:gd name="T31" fmla="*/ 102 h 238"/>
                <a:gd name="T32" fmla="*/ 12 w 188"/>
                <a:gd name="T33" fmla="*/ 74 h 238"/>
                <a:gd name="T34" fmla="*/ 12 w 188"/>
                <a:gd name="T35" fmla="*/ 73 h 238"/>
                <a:gd name="T36" fmla="*/ 19 w 188"/>
                <a:gd name="T37" fmla="*/ 42 h 238"/>
                <a:gd name="T38" fmla="*/ 37 w 188"/>
                <a:gd name="T39" fmla="*/ 19 h 238"/>
                <a:gd name="T40" fmla="*/ 63 w 188"/>
                <a:gd name="T41" fmla="*/ 5 h 238"/>
                <a:gd name="T42" fmla="*/ 96 w 188"/>
                <a:gd name="T43" fmla="*/ 0 h 238"/>
                <a:gd name="T44" fmla="*/ 141 w 188"/>
                <a:gd name="T45" fmla="*/ 7 h 238"/>
                <a:gd name="T46" fmla="*/ 182 w 188"/>
                <a:gd name="T47" fmla="*/ 27 h 238"/>
                <a:gd name="T48" fmla="*/ 158 w 188"/>
                <a:gd name="T49" fmla="*/ 72 h 238"/>
                <a:gd name="T50" fmla="*/ 124 w 188"/>
                <a:gd name="T51" fmla="*/ 56 h 238"/>
                <a:gd name="T52" fmla="*/ 95 w 188"/>
                <a:gd name="T53" fmla="*/ 50 h 238"/>
                <a:gd name="T54" fmla="*/ 77 w 188"/>
                <a:gd name="T55" fmla="*/ 55 h 238"/>
                <a:gd name="T56" fmla="*/ 71 w 188"/>
                <a:gd name="T57" fmla="*/ 66 h 238"/>
                <a:gd name="T58" fmla="*/ 71 w 188"/>
                <a:gd name="T59" fmla="*/ 67 h 238"/>
                <a:gd name="T60" fmla="*/ 75 w 188"/>
                <a:gd name="T61" fmla="*/ 75 h 238"/>
                <a:gd name="T62" fmla="*/ 85 w 188"/>
                <a:gd name="T63" fmla="*/ 82 h 238"/>
                <a:gd name="T64" fmla="*/ 100 w 188"/>
                <a:gd name="T65" fmla="*/ 89 h 238"/>
                <a:gd name="T66" fmla="*/ 118 w 188"/>
                <a:gd name="T67" fmla="*/ 95 h 238"/>
                <a:gd name="T68" fmla="*/ 142 w 188"/>
                <a:gd name="T69" fmla="*/ 104 h 238"/>
                <a:gd name="T70" fmla="*/ 165 w 188"/>
                <a:gd name="T71" fmla="*/ 117 h 238"/>
                <a:gd name="T72" fmla="*/ 181 w 188"/>
                <a:gd name="T73" fmla="*/ 136 h 238"/>
                <a:gd name="T74" fmla="*/ 188 w 188"/>
                <a:gd name="T75" fmla="*/ 163 h 238"/>
                <a:gd name="T76" fmla="*/ 188 w 188"/>
                <a:gd name="T77" fmla="*/ 164 h 238"/>
                <a:gd name="T78" fmla="*/ 181 w 188"/>
                <a:gd name="T79" fmla="*/ 197 h 238"/>
                <a:gd name="T80" fmla="*/ 162 w 188"/>
                <a:gd name="T81" fmla="*/ 220 h 238"/>
                <a:gd name="T82" fmla="*/ 134 w 188"/>
                <a:gd name="T83" fmla="*/ 234 h 238"/>
                <a:gd name="T84" fmla="*/ 99 w 188"/>
                <a:gd name="T85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8" h="238">
                  <a:moveTo>
                    <a:pt x="99" y="238"/>
                  </a:moveTo>
                  <a:cubicBezTo>
                    <a:pt x="83" y="238"/>
                    <a:pt x="66" y="236"/>
                    <a:pt x="49" y="230"/>
                  </a:cubicBezTo>
                  <a:cubicBezTo>
                    <a:pt x="32" y="224"/>
                    <a:pt x="16" y="216"/>
                    <a:pt x="0" y="204"/>
                  </a:cubicBezTo>
                  <a:lnTo>
                    <a:pt x="28" y="161"/>
                  </a:lnTo>
                  <a:cubicBezTo>
                    <a:pt x="41" y="170"/>
                    <a:pt x="53" y="177"/>
                    <a:pt x="66" y="181"/>
                  </a:cubicBezTo>
                  <a:cubicBezTo>
                    <a:pt x="78" y="186"/>
                    <a:pt x="90" y="188"/>
                    <a:pt x="101" y="188"/>
                  </a:cubicBezTo>
                  <a:cubicBezTo>
                    <a:pt x="111" y="188"/>
                    <a:pt x="118" y="186"/>
                    <a:pt x="122" y="183"/>
                  </a:cubicBezTo>
                  <a:cubicBezTo>
                    <a:pt x="126" y="180"/>
                    <a:pt x="129" y="176"/>
                    <a:pt x="129" y="171"/>
                  </a:cubicBezTo>
                  <a:lnTo>
                    <a:pt x="129" y="170"/>
                  </a:lnTo>
                  <a:cubicBezTo>
                    <a:pt x="129" y="167"/>
                    <a:pt x="127" y="164"/>
                    <a:pt x="125" y="161"/>
                  </a:cubicBezTo>
                  <a:cubicBezTo>
                    <a:pt x="122" y="158"/>
                    <a:pt x="119" y="156"/>
                    <a:pt x="114" y="154"/>
                  </a:cubicBezTo>
                  <a:cubicBezTo>
                    <a:pt x="110" y="152"/>
                    <a:pt x="105" y="151"/>
                    <a:pt x="99" y="149"/>
                  </a:cubicBezTo>
                  <a:cubicBezTo>
                    <a:pt x="93" y="147"/>
                    <a:pt x="87" y="145"/>
                    <a:pt x="81" y="143"/>
                  </a:cubicBezTo>
                  <a:cubicBezTo>
                    <a:pt x="73" y="141"/>
                    <a:pt x="65" y="138"/>
                    <a:pt x="56" y="135"/>
                  </a:cubicBezTo>
                  <a:cubicBezTo>
                    <a:pt x="48" y="132"/>
                    <a:pt x="41" y="127"/>
                    <a:pt x="34" y="122"/>
                  </a:cubicBezTo>
                  <a:cubicBezTo>
                    <a:pt x="28" y="117"/>
                    <a:pt x="22" y="110"/>
                    <a:pt x="18" y="102"/>
                  </a:cubicBezTo>
                  <a:cubicBezTo>
                    <a:pt x="14" y="95"/>
                    <a:pt x="12" y="85"/>
                    <a:pt x="12" y="74"/>
                  </a:cubicBezTo>
                  <a:lnTo>
                    <a:pt x="12" y="73"/>
                  </a:lnTo>
                  <a:cubicBezTo>
                    <a:pt x="12" y="61"/>
                    <a:pt x="14" y="51"/>
                    <a:pt x="19" y="42"/>
                  </a:cubicBezTo>
                  <a:cubicBezTo>
                    <a:pt x="23" y="33"/>
                    <a:pt x="29" y="25"/>
                    <a:pt x="37" y="19"/>
                  </a:cubicBezTo>
                  <a:cubicBezTo>
                    <a:pt x="44" y="12"/>
                    <a:pt x="53" y="8"/>
                    <a:pt x="63" y="5"/>
                  </a:cubicBezTo>
                  <a:cubicBezTo>
                    <a:pt x="74" y="1"/>
                    <a:pt x="85" y="0"/>
                    <a:pt x="96" y="0"/>
                  </a:cubicBezTo>
                  <a:cubicBezTo>
                    <a:pt x="111" y="0"/>
                    <a:pt x="126" y="2"/>
                    <a:pt x="141" y="7"/>
                  </a:cubicBezTo>
                  <a:cubicBezTo>
                    <a:pt x="156" y="12"/>
                    <a:pt x="170" y="18"/>
                    <a:pt x="182" y="27"/>
                  </a:cubicBezTo>
                  <a:lnTo>
                    <a:pt x="158" y="72"/>
                  </a:lnTo>
                  <a:cubicBezTo>
                    <a:pt x="146" y="65"/>
                    <a:pt x="135" y="60"/>
                    <a:pt x="124" y="56"/>
                  </a:cubicBezTo>
                  <a:cubicBezTo>
                    <a:pt x="113" y="52"/>
                    <a:pt x="103" y="50"/>
                    <a:pt x="95" y="50"/>
                  </a:cubicBezTo>
                  <a:cubicBezTo>
                    <a:pt x="87" y="50"/>
                    <a:pt x="81" y="52"/>
                    <a:pt x="77" y="55"/>
                  </a:cubicBezTo>
                  <a:cubicBezTo>
                    <a:pt x="73" y="58"/>
                    <a:pt x="71" y="62"/>
                    <a:pt x="71" y="66"/>
                  </a:cubicBezTo>
                  <a:lnTo>
                    <a:pt x="71" y="67"/>
                  </a:lnTo>
                  <a:cubicBezTo>
                    <a:pt x="71" y="70"/>
                    <a:pt x="72" y="73"/>
                    <a:pt x="75" y="75"/>
                  </a:cubicBezTo>
                  <a:cubicBezTo>
                    <a:pt x="77" y="78"/>
                    <a:pt x="81" y="80"/>
                    <a:pt x="85" y="82"/>
                  </a:cubicBezTo>
                  <a:cubicBezTo>
                    <a:pt x="89" y="84"/>
                    <a:pt x="94" y="87"/>
                    <a:pt x="100" y="89"/>
                  </a:cubicBezTo>
                  <a:cubicBezTo>
                    <a:pt x="106" y="91"/>
                    <a:pt x="112" y="93"/>
                    <a:pt x="118" y="95"/>
                  </a:cubicBezTo>
                  <a:cubicBezTo>
                    <a:pt x="126" y="97"/>
                    <a:pt x="134" y="100"/>
                    <a:pt x="142" y="104"/>
                  </a:cubicBezTo>
                  <a:cubicBezTo>
                    <a:pt x="151" y="107"/>
                    <a:pt x="158" y="112"/>
                    <a:pt x="165" y="117"/>
                  </a:cubicBezTo>
                  <a:cubicBezTo>
                    <a:pt x="171" y="122"/>
                    <a:pt x="177" y="128"/>
                    <a:pt x="181" y="136"/>
                  </a:cubicBezTo>
                  <a:cubicBezTo>
                    <a:pt x="186" y="143"/>
                    <a:pt x="188" y="152"/>
                    <a:pt x="188" y="163"/>
                  </a:cubicBezTo>
                  <a:lnTo>
                    <a:pt x="188" y="164"/>
                  </a:lnTo>
                  <a:cubicBezTo>
                    <a:pt x="188" y="177"/>
                    <a:pt x="185" y="188"/>
                    <a:pt x="181" y="197"/>
                  </a:cubicBezTo>
                  <a:cubicBezTo>
                    <a:pt x="177" y="207"/>
                    <a:pt x="170" y="214"/>
                    <a:pt x="162" y="220"/>
                  </a:cubicBezTo>
                  <a:cubicBezTo>
                    <a:pt x="154" y="226"/>
                    <a:pt x="145" y="231"/>
                    <a:pt x="134" y="234"/>
                  </a:cubicBezTo>
                  <a:cubicBezTo>
                    <a:pt x="123" y="237"/>
                    <a:pt x="112" y="238"/>
                    <a:pt x="99" y="2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7" name="Freeform 36">
              <a:extLst>
                <a:ext uri="{FF2B5EF4-FFF2-40B4-BE49-F238E27FC236}">
                  <a16:creationId xmlns:a16="http://schemas.microsoft.com/office/drawing/2014/main" id="{D97239B4-7990-7B90-1EB9-B06D66B87A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" y="411"/>
              <a:ext cx="18" cy="41"/>
            </a:xfrm>
            <a:custGeom>
              <a:avLst/>
              <a:gdLst>
                <a:gd name="T0" fmla="*/ 27 w 145"/>
                <a:gd name="T1" fmla="*/ 142 h 317"/>
                <a:gd name="T2" fmla="*/ 0 w 145"/>
                <a:gd name="T3" fmla="*/ 142 h 317"/>
                <a:gd name="T4" fmla="*/ 0 w 145"/>
                <a:gd name="T5" fmla="*/ 88 h 317"/>
                <a:gd name="T6" fmla="*/ 27 w 145"/>
                <a:gd name="T7" fmla="*/ 88 h 317"/>
                <a:gd name="T8" fmla="*/ 27 w 145"/>
                <a:gd name="T9" fmla="*/ 74 h 317"/>
                <a:gd name="T10" fmla="*/ 45 w 145"/>
                <a:gd name="T11" fmla="*/ 18 h 317"/>
                <a:gd name="T12" fmla="*/ 98 w 145"/>
                <a:gd name="T13" fmla="*/ 0 h 317"/>
                <a:gd name="T14" fmla="*/ 125 w 145"/>
                <a:gd name="T15" fmla="*/ 1 h 317"/>
                <a:gd name="T16" fmla="*/ 145 w 145"/>
                <a:gd name="T17" fmla="*/ 6 h 317"/>
                <a:gd name="T18" fmla="*/ 145 w 145"/>
                <a:gd name="T19" fmla="*/ 60 h 317"/>
                <a:gd name="T20" fmla="*/ 131 w 145"/>
                <a:gd name="T21" fmla="*/ 56 h 317"/>
                <a:gd name="T22" fmla="*/ 115 w 145"/>
                <a:gd name="T23" fmla="*/ 55 h 317"/>
                <a:gd name="T24" fmla="*/ 91 w 145"/>
                <a:gd name="T25" fmla="*/ 80 h 317"/>
                <a:gd name="T26" fmla="*/ 91 w 145"/>
                <a:gd name="T27" fmla="*/ 89 h 317"/>
                <a:gd name="T28" fmla="*/ 144 w 145"/>
                <a:gd name="T29" fmla="*/ 89 h 317"/>
                <a:gd name="T30" fmla="*/ 144 w 145"/>
                <a:gd name="T31" fmla="*/ 142 h 317"/>
                <a:gd name="T32" fmla="*/ 92 w 145"/>
                <a:gd name="T33" fmla="*/ 142 h 317"/>
                <a:gd name="T34" fmla="*/ 92 w 145"/>
                <a:gd name="T35" fmla="*/ 317 h 317"/>
                <a:gd name="T36" fmla="*/ 27 w 145"/>
                <a:gd name="T37" fmla="*/ 317 h 317"/>
                <a:gd name="T38" fmla="*/ 27 w 145"/>
                <a:gd name="T39" fmla="*/ 142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5" h="317">
                  <a:moveTo>
                    <a:pt x="27" y="142"/>
                  </a:moveTo>
                  <a:lnTo>
                    <a:pt x="0" y="142"/>
                  </a:lnTo>
                  <a:lnTo>
                    <a:pt x="0" y="88"/>
                  </a:lnTo>
                  <a:lnTo>
                    <a:pt x="27" y="88"/>
                  </a:lnTo>
                  <a:lnTo>
                    <a:pt x="27" y="74"/>
                  </a:lnTo>
                  <a:cubicBezTo>
                    <a:pt x="27" y="49"/>
                    <a:pt x="33" y="30"/>
                    <a:pt x="45" y="18"/>
                  </a:cubicBezTo>
                  <a:cubicBezTo>
                    <a:pt x="57" y="6"/>
                    <a:pt x="75" y="0"/>
                    <a:pt x="98" y="0"/>
                  </a:cubicBezTo>
                  <a:cubicBezTo>
                    <a:pt x="109" y="0"/>
                    <a:pt x="118" y="0"/>
                    <a:pt x="125" y="1"/>
                  </a:cubicBezTo>
                  <a:cubicBezTo>
                    <a:pt x="132" y="3"/>
                    <a:pt x="139" y="4"/>
                    <a:pt x="145" y="6"/>
                  </a:cubicBezTo>
                  <a:lnTo>
                    <a:pt x="145" y="60"/>
                  </a:lnTo>
                  <a:cubicBezTo>
                    <a:pt x="140" y="59"/>
                    <a:pt x="135" y="57"/>
                    <a:pt x="131" y="56"/>
                  </a:cubicBezTo>
                  <a:cubicBezTo>
                    <a:pt x="126" y="55"/>
                    <a:pt x="121" y="55"/>
                    <a:pt x="115" y="55"/>
                  </a:cubicBezTo>
                  <a:cubicBezTo>
                    <a:pt x="99" y="55"/>
                    <a:pt x="91" y="63"/>
                    <a:pt x="91" y="80"/>
                  </a:cubicBezTo>
                  <a:lnTo>
                    <a:pt x="91" y="89"/>
                  </a:lnTo>
                  <a:lnTo>
                    <a:pt x="144" y="89"/>
                  </a:lnTo>
                  <a:lnTo>
                    <a:pt x="144" y="142"/>
                  </a:lnTo>
                  <a:lnTo>
                    <a:pt x="92" y="142"/>
                  </a:lnTo>
                  <a:lnTo>
                    <a:pt x="92" y="317"/>
                  </a:lnTo>
                  <a:lnTo>
                    <a:pt x="27" y="317"/>
                  </a:lnTo>
                  <a:lnTo>
                    <a:pt x="27" y="142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8" name="Freeform 37">
              <a:extLst>
                <a:ext uri="{FF2B5EF4-FFF2-40B4-BE49-F238E27FC236}">
                  <a16:creationId xmlns:a16="http://schemas.microsoft.com/office/drawing/2014/main" id="{D359AED1-390B-1945-D185-8F66623673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1" y="422"/>
              <a:ext cx="31" cy="31"/>
            </a:xfrm>
            <a:custGeom>
              <a:avLst/>
              <a:gdLst>
                <a:gd name="T0" fmla="*/ 125 w 250"/>
                <a:gd name="T1" fmla="*/ 184 h 240"/>
                <a:gd name="T2" fmla="*/ 151 w 250"/>
                <a:gd name="T3" fmla="*/ 179 h 240"/>
                <a:gd name="T4" fmla="*/ 169 w 250"/>
                <a:gd name="T5" fmla="*/ 165 h 240"/>
                <a:gd name="T6" fmla="*/ 181 w 250"/>
                <a:gd name="T7" fmla="*/ 145 h 240"/>
                <a:gd name="T8" fmla="*/ 185 w 250"/>
                <a:gd name="T9" fmla="*/ 121 h 240"/>
                <a:gd name="T10" fmla="*/ 185 w 250"/>
                <a:gd name="T11" fmla="*/ 120 h 240"/>
                <a:gd name="T12" fmla="*/ 181 w 250"/>
                <a:gd name="T13" fmla="*/ 96 h 240"/>
                <a:gd name="T14" fmla="*/ 168 w 250"/>
                <a:gd name="T15" fmla="*/ 76 h 240"/>
                <a:gd name="T16" fmla="*/ 149 w 250"/>
                <a:gd name="T17" fmla="*/ 62 h 240"/>
                <a:gd name="T18" fmla="*/ 124 w 250"/>
                <a:gd name="T19" fmla="*/ 56 h 240"/>
                <a:gd name="T20" fmla="*/ 99 w 250"/>
                <a:gd name="T21" fmla="*/ 61 h 240"/>
                <a:gd name="T22" fmla="*/ 81 w 250"/>
                <a:gd name="T23" fmla="*/ 75 h 240"/>
                <a:gd name="T24" fmla="*/ 69 w 250"/>
                <a:gd name="T25" fmla="*/ 95 h 240"/>
                <a:gd name="T26" fmla="*/ 65 w 250"/>
                <a:gd name="T27" fmla="*/ 119 h 240"/>
                <a:gd name="T28" fmla="*/ 65 w 250"/>
                <a:gd name="T29" fmla="*/ 120 h 240"/>
                <a:gd name="T30" fmla="*/ 69 w 250"/>
                <a:gd name="T31" fmla="*/ 144 h 240"/>
                <a:gd name="T32" fmla="*/ 81 w 250"/>
                <a:gd name="T33" fmla="*/ 165 h 240"/>
                <a:gd name="T34" fmla="*/ 101 w 250"/>
                <a:gd name="T35" fmla="*/ 179 h 240"/>
                <a:gd name="T36" fmla="*/ 125 w 250"/>
                <a:gd name="T37" fmla="*/ 184 h 240"/>
                <a:gd name="T38" fmla="*/ 124 w 250"/>
                <a:gd name="T39" fmla="*/ 240 h 240"/>
                <a:gd name="T40" fmla="*/ 75 w 250"/>
                <a:gd name="T41" fmla="*/ 231 h 240"/>
                <a:gd name="T42" fmla="*/ 36 w 250"/>
                <a:gd name="T43" fmla="*/ 206 h 240"/>
                <a:gd name="T44" fmla="*/ 9 w 250"/>
                <a:gd name="T45" fmla="*/ 168 h 240"/>
                <a:gd name="T46" fmla="*/ 0 w 250"/>
                <a:gd name="T47" fmla="*/ 121 h 240"/>
                <a:gd name="T48" fmla="*/ 0 w 250"/>
                <a:gd name="T49" fmla="*/ 120 h 240"/>
                <a:gd name="T50" fmla="*/ 9 w 250"/>
                <a:gd name="T51" fmla="*/ 73 h 240"/>
                <a:gd name="T52" fmla="*/ 36 w 250"/>
                <a:gd name="T53" fmla="*/ 35 h 240"/>
                <a:gd name="T54" fmla="*/ 75 w 250"/>
                <a:gd name="T55" fmla="*/ 9 h 240"/>
                <a:gd name="T56" fmla="*/ 125 w 250"/>
                <a:gd name="T57" fmla="*/ 0 h 240"/>
                <a:gd name="T58" fmla="*/ 175 w 250"/>
                <a:gd name="T59" fmla="*/ 9 h 240"/>
                <a:gd name="T60" fmla="*/ 214 w 250"/>
                <a:gd name="T61" fmla="*/ 35 h 240"/>
                <a:gd name="T62" fmla="*/ 240 w 250"/>
                <a:gd name="T63" fmla="*/ 73 h 240"/>
                <a:gd name="T64" fmla="*/ 250 w 250"/>
                <a:gd name="T65" fmla="*/ 119 h 240"/>
                <a:gd name="T66" fmla="*/ 250 w 250"/>
                <a:gd name="T67" fmla="*/ 120 h 240"/>
                <a:gd name="T68" fmla="*/ 240 w 250"/>
                <a:gd name="T69" fmla="*/ 167 h 240"/>
                <a:gd name="T70" fmla="*/ 214 w 250"/>
                <a:gd name="T71" fmla="*/ 205 h 240"/>
                <a:gd name="T72" fmla="*/ 174 w 250"/>
                <a:gd name="T73" fmla="*/ 231 h 240"/>
                <a:gd name="T74" fmla="*/ 124 w 250"/>
                <a:gd name="T7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0" h="240">
                  <a:moveTo>
                    <a:pt x="125" y="184"/>
                  </a:moveTo>
                  <a:cubicBezTo>
                    <a:pt x="135" y="184"/>
                    <a:pt x="143" y="182"/>
                    <a:pt x="151" y="179"/>
                  </a:cubicBezTo>
                  <a:cubicBezTo>
                    <a:pt x="158" y="176"/>
                    <a:pt x="164" y="171"/>
                    <a:pt x="169" y="165"/>
                  </a:cubicBezTo>
                  <a:cubicBezTo>
                    <a:pt x="174" y="160"/>
                    <a:pt x="178" y="153"/>
                    <a:pt x="181" y="145"/>
                  </a:cubicBezTo>
                  <a:cubicBezTo>
                    <a:pt x="184" y="138"/>
                    <a:pt x="185" y="130"/>
                    <a:pt x="185" y="121"/>
                  </a:cubicBezTo>
                  <a:lnTo>
                    <a:pt x="185" y="120"/>
                  </a:lnTo>
                  <a:cubicBezTo>
                    <a:pt x="185" y="112"/>
                    <a:pt x="184" y="103"/>
                    <a:pt x="181" y="96"/>
                  </a:cubicBezTo>
                  <a:cubicBezTo>
                    <a:pt x="178" y="88"/>
                    <a:pt x="174" y="81"/>
                    <a:pt x="168" y="76"/>
                  </a:cubicBezTo>
                  <a:cubicBezTo>
                    <a:pt x="163" y="70"/>
                    <a:pt x="157" y="65"/>
                    <a:pt x="149" y="62"/>
                  </a:cubicBezTo>
                  <a:cubicBezTo>
                    <a:pt x="142" y="58"/>
                    <a:pt x="133" y="56"/>
                    <a:pt x="124" y="56"/>
                  </a:cubicBezTo>
                  <a:cubicBezTo>
                    <a:pt x="115" y="56"/>
                    <a:pt x="107" y="58"/>
                    <a:pt x="99" y="61"/>
                  </a:cubicBezTo>
                  <a:cubicBezTo>
                    <a:pt x="92" y="65"/>
                    <a:pt x="86" y="69"/>
                    <a:pt x="81" y="75"/>
                  </a:cubicBezTo>
                  <a:cubicBezTo>
                    <a:pt x="75" y="81"/>
                    <a:pt x="71" y="87"/>
                    <a:pt x="69" y="95"/>
                  </a:cubicBezTo>
                  <a:cubicBezTo>
                    <a:pt x="66" y="103"/>
                    <a:pt x="65" y="111"/>
                    <a:pt x="65" y="119"/>
                  </a:cubicBezTo>
                  <a:lnTo>
                    <a:pt x="65" y="120"/>
                  </a:lnTo>
                  <a:cubicBezTo>
                    <a:pt x="65" y="129"/>
                    <a:pt x="66" y="137"/>
                    <a:pt x="69" y="144"/>
                  </a:cubicBezTo>
                  <a:cubicBezTo>
                    <a:pt x="72" y="152"/>
                    <a:pt x="76" y="159"/>
                    <a:pt x="81" y="165"/>
                  </a:cubicBezTo>
                  <a:cubicBezTo>
                    <a:pt x="87" y="171"/>
                    <a:pt x="93" y="175"/>
                    <a:pt x="101" y="179"/>
                  </a:cubicBezTo>
                  <a:cubicBezTo>
                    <a:pt x="108" y="182"/>
                    <a:pt x="116" y="184"/>
                    <a:pt x="125" y="184"/>
                  </a:cubicBezTo>
                  <a:close/>
                  <a:moveTo>
                    <a:pt x="124" y="240"/>
                  </a:moveTo>
                  <a:cubicBezTo>
                    <a:pt x="107" y="240"/>
                    <a:pt x="90" y="237"/>
                    <a:pt x="75" y="231"/>
                  </a:cubicBezTo>
                  <a:cubicBezTo>
                    <a:pt x="60" y="225"/>
                    <a:pt x="47" y="216"/>
                    <a:pt x="36" y="206"/>
                  </a:cubicBezTo>
                  <a:cubicBezTo>
                    <a:pt x="24" y="195"/>
                    <a:pt x="16" y="182"/>
                    <a:pt x="9" y="168"/>
                  </a:cubicBezTo>
                  <a:cubicBezTo>
                    <a:pt x="3" y="153"/>
                    <a:pt x="0" y="138"/>
                    <a:pt x="0" y="121"/>
                  </a:cubicBezTo>
                  <a:lnTo>
                    <a:pt x="0" y="120"/>
                  </a:lnTo>
                  <a:cubicBezTo>
                    <a:pt x="0" y="103"/>
                    <a:pt x="3" y="88"/>
                    <a:pt x="9" y="73"/>
                  </a:cubicBezTo>
                  <a:cubicBezTo>
                    <a:pt x="16" y="59"/>
                    <a:pt x="25" y="46"/>
                    <a:pt x="36" y="35"/>
                  </a:cubicBezTo>
                  <a:cubicBezTo>
                    <a:pt x="47" y="24"/>
                    <a:pt x="60" y="16"/>
                    <a:pt x="75" y="9"/>
                  </a:cubicBezTo>
                  <a:cubicBezTo>
                    <a:pt x="91" y="3"/>
                    <a:pt x="107" y="0"/>
                    <a:pt x="125" y="0"/>
                  </a:cubicBezTo>
                  <a:cubicBezTo>
                    <a:pt x="143" y="0"/>
                    <a:pt x="160" y="3"/>
                    <a:pt x="175" y="9"/>
                  </a:cubicBezTo>
                  <a:cubicBezTo>
                    <a:pt x="190" y="15"/>
                    <a:pt x="203" y="24"/>
                    <a:pt x="214" y="35"/>
                  </a:cubicBezTo>
                  <a:cubicBezTo>
                    <a:pt x="225" y="45"/>
                    <a:pt x="234" y="58"/>
                    <a:pt x="240" y="73"/>
                  </a:cubicBezTo>
                  <a:cubicBezTo>
                    <a:pt x="247" y="87"/>
                    <a:pt x="250" y="103"/>
                    <a:pt x="250" y="119"/>
                  </a:cubicBezTo>
                  <a:lnTo>
                    <a:pt x="250" y="120"/>
                  </a:lnTo>
                  <a:cubicBezTo>
                    <a:pt x="250" y="137"/>
                    <a:pt x="247" y="152"/>
                    <a:pt x="240" y="167"/>
                  </a:cubicBezTo>
                  <a:cubicBezTo>
                    <a:pt x="234" y="181"/>
                    <a:pt x="225" y="194"/>
                    <a:pt x="214" y="205"/>
                  </a:cubicBezTo>
                  <a:cubicBezTo>
                    <a:pt x="203" y="216"/>
                    <a:pt x="190" y="225"/>
                    <a:pt x="174" y="231"/>
                  </a:cubicBezTo>
                  <a:cubicBezTo>
                    <a:pt x="159" y="237"/>
                    <a:pt x="143" y="240"/>
                    <a:pt x="124" y="240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9" name="Freeform 38">
              <a:extLst>
                <a:ext uri="{FF2B5EF4-FFF2-40B4-BE49-F238E27FC236}">
                  <a16:creationId xmlns:a16="http://schemas.microsoft.com/office/drawing/2014/main" id="{79275E02-5EC3-AD4D-B5B0-365F85D8A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8" y="422"/>
              <a:ext cx="17" cy="30"/>
            </a:xfrm>
            <a:custGeom>
              <a:avLst/>
              <a:gdLst>
                <a:gd name="T0" fmla="*/ 0 w 139"/>
                <a:gd name="T1" fmla="*/ 5 h 236"/>
                <a:gd name="T2" fmla="*/ 66 w 139"/>
                <a:gd name="T3" fmla="*/ 5 h 236"/>
                <a:gd name="T4" fmla="*/ 66 w 139"/>
                <a:gd name="T5" fmla="*/ 52 h 236"/>
                <a:gd name="T6" fmla="*/ 93 w 139"/>
                <a:gd name="T7" fmla="*/ 14 h 236"/>
                <a:gd name="T8" fmla="*/ 139 w 139"/>
                <a:gd name="T9" fmla="*/ 1 h 236"/>
                <a:gd name="T10" fmla="*/ 139 w 139"/>
                <a:gd name="T11" fmla="*/ 69 h 236"/>
                <a:gd name="T12" fmla="*/ 136 w 139"/>
                <a:gd name="T13" fmla="*/ 69 h 236"/>
                <a:gd name="T14" fmla="*/ 84 w 139"/>
                <a:gd name="T15" fmla="*/ 89 h 236"/>
                <a:gd name="T16" fmla="*/ 66 w 139"/>
                <a:gd name="T17" fmla="*/ 151 h 236"/>
                <a:gd name="T18" fmla="*/ 66 w 139"/>
                <a:gd name="T19" fmla="*/ 236 h 236"/>
                <a:gd name="T20" fmla="*/ 0 w 139"/>
                <a:gd name="T21" fmla="*/ 236 h 236"/>
                <a:gd name="T22" fmla="*/ 0 w 139"/>
                <a:gd name="T23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236">
                  <a:moveTo>
                    <a:pt x="0" y="5"/>
                  </a:moveTo>
                  <a:lnTo>
                    <a:pt x="66" y="5"/>
                  </a:lnTo>
                  <a:lnTo>
                    <a:pt x="66" y="52"/>
                  </a:lnTo>
                  <a:cubicBezTo>
                    <a:pt x="72" y="36"/>
                    <a:pt x="81" y="23"/>
                    <a:pt x="93" y="14"/>
                  </a:cubicBezTo>
                  <a:cubicBezTo>
                    <a:pt x="104" y="4"/>
                    <a:pt x="120" y="0"/>
                    <a:pt x="139" y="1"/>
                  </a:cubicBezTo>
                  <a:lnTo>
                    <a:pt x="139" y="69"/>
                  </a:lnTo>
                  <a:lnTo>
                    <a:pt x="136" y="69"/>
                  </a:lnTo>
                  <a:cubicBezTo>
                    <a:pt x="114" y="69"/>
                    <a:pt x="97" y="76"/>
                    <a:pt x="84" y="89"/>
                  </a:cubicBezTo>
                  <a:cubicBezTo>
                    <a:pt x="72" y="102"/>
                    <a:pt x="66" y="123"/>
                    <a:pt x="66" y="151"/>
                  </a:cubicBezTo>
                  <a:lnTo>
                    <a:pt x="66" y="236"/>
                  </a:lnTo>
                  <a:lnTo>
                    <a:pt x="0" y="236"/>
                  </a:lnTo>
                  <a:lnTo>
                    <a:pt x="0" y="5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0" name="Freeform 39">
              <a:extLst>
                <a:ext uri="{FF2B5EF4-FFF2-40B4-BE49-F238E27FC236}">
                  <a16:creationId xmlns:a16="http://schemas.microsoft.com/office/drawing/2014/main" id="{CF22F967-0532-A227-6A8B-1D0227749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" y="422"/>
              <a:ext cx="44" cy="30"/>
            </a:xfrm>
            <a:custGeom>
              <a:avLst/>
              <a:gdLst>
                <a:gd name="T0" fmla="*/ 0 w 353"/>
                <a:gd name="T1" fmla="*/ 4 h 235"/>
                <a:gd name="T2" fmla="*/ 66 w 353"/>
                <a:gd name="T3" fmla="*/ 4 h 235"/>
                <a:gd name="T4" fmla="*/ 66 w 353"/>
                <a:gd name="T5" fmla="*/ 37 h 235"/>
                <a:gd name="T6" fmla="*/ 78 w 353"/>
                <a:gd name="T7" fmla="*/ 23 h 235"/>
                <a:gd name="T8" fmla="*/ 93 w 353"/>
                <a:gd name="T9" fmla="*/ 11 h 235"/>
                <a:gd name="T10" fmla="*/ 111 w 353"/>
                <a:gd name="T11" fmla="*/ 3 h 235"/>
                <a:gd name="T12" fmla="*/ 134 w 353"/>
                <a:gd name="T13" fmla="*/ 0 h 235"/>
                <a:gd name="T14" fmla="*/ 173 w 353"/>
                <a:gd name="T15" fmla="*/ 9 h 235"/>
                <a:gd name="T16" fmla="*/ 199 w 353"/>
                <a:gd name="T17" fmla="*/ 37 h 235"/>
                <a:gd name="T18" fmla="*/ 233 w 353"/>
                <a:gd name="T19" fmla="*/ 9 h 235"/>
                <a:gd name="T20" fmla="*/ 275 w 353"/>
                <a:gd name="T21" fmla="*/ 0 h 235"/>
                <a:gd name="T22" fmla="*/ 332 w 353"/>
                <a:gd name="T23" fmla="*/ 21 h 235"/>
                <a:gd name="T24" fmla="*/ 353 w 353"/>
                <a:gd name="T25" fmla="*/ 85 h 235"/>
                <a:gd name="T26" fmla="*/ 353 w 353"/>
                <a:gd name="T27" fmla="*/ 235 h 235"/>
                <a:gd name="T28" fmla="*/ 287 w 353"/>
                <a:gd name="T29" fmla="*/ 235 h 235"/>
                <a:gd name="T30" fmla="*/ 287 w 353"/>
                <a:gd name="T31" fmla="*/ 107 h 235"/>
                <a:gd name="T32" fmla="*/ 277 w 353"/>
                <a:gd name="T33" fmla="*/ 72 h 235"/>
                <a:gd name="T34" fmla="*/ 249 w 353"/>
                <a:gd name="T35" fmla="*/ 60 h 235"/>
                <a:gd name="T36" fmla="*/ 220 w 353"/>
                <a:gd name="T37" fmla="*/ 72 h 235"/>
                <a:gd name="T38" fmla="*/ 209 w 353"/>
                <a:gd name="T39" fmla="*/ 107 h 235"/>
                <a:gd name="T40" fmla="*/ 209 w 353"/>
                <a:gd name="T41" fmla="*/ 235 h 235"/>
                <a:gd name="T42" fmla="*/ 144 w 353"/>
                <a:gd name="T43" fmla="*/ 235 h 235"/>
                <a:gd name="T44" fmla="*/ 144 w 353"/>
                <a:gd name="T45" fmla="*/ 107 h 235"/>
                <a:gd name="T46" fmla="*/ 134 w 353"/>
                <a:gd name="T47" fmla="*/ 72 h 235"/>
                <a:gd name="T48" fmla="*/ 105 w 353"/>
                <a:gd name="T49" fmla="*/ 60 h 235"/>
                <a:gd name="T50" fmla="*/ 76 w 353"/>
                <a:gd name="T51" fmla="*/ 72 h 235"/>
                <a:gd name="T52" fmla="*/ 66 w 353"/>
                <a:gd name="T53" fmla="*/ 107 h 235"/>
                <a:gd name="T54" fmla="*/ 66 w 353"/>
                <a:gd name="T55" fmla="*/ 235 h 235"/>
                <a:gd name="T56" fmla="*/ 0 w 353"/>
                <a:gd name="T57" fmla="*/ 235 h 235"/>
                <a:gd name="T58" fmla="*/ 0 w 353"/>
                <a:gd name="T59" fmla="*/ 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3" h="235">
                  <a:moveTo>
                    <a:pt x="0" y="4"/>
                  </a:moveTo>
                  <a:lnTo>
                    <a:pt x="66" y="4"/>
                  </a:lnTo>
                  <a:lnTo>
                    <a:pt x="66" y="37"/>
                  </a:lnTo>
                  <a:cubicBezTo>
                    <a:pt x="70" y="32"/>
                    <a:pt x="74" y="28"/>
                    <a:pt x="78" y="23"/>
                  </a:cubicBezTo>
                  <a:cubicBezTo>
                    <a:pt x="83" y="19"/>
                    <a:pt x="87" y="15"/>
                    <a:pt x="93" y="11"/>
                  </a:cubicBezTo>
                  <a:cubicBezTo>
                    <a:pt x="98" y="8"/>
                    <a:pt x="105" y="5"/>
                    <a:pt x="111" y="3"/>
                  </a:cubicBezTo>
                  <a:cubicBezTo>
                    <a:pt x="118" y="1"/>
                    <a:pt x="126" y="0"/>
                    <a:pt x="134" y="0"/>
                  </a:cubicBezTo>
                  <a:cubicBezTo>
                    <a:pt x="149" y="0"/>
                    <a:pt x="162" y="3"/>
                    <a:pt x="173" y="9"/>
                  </a:cubicBezTo>
                  <a:cubicBezTo>
                    <a:pt x="184" y="16"/>
                    <a:pt x="193" y="25"/>
                    <a:pt x="199" y="37"/>
                  </a:cubicBezTo>
                  <a:cubicBezTo>
                    <a:pt x="209" y="25"/>
                    <a:pt x="220" y="15"/>
                    <a:pt x="233" y="9"/>
                  </a:cubicBezTo>
                  <a:cubicBezTo>
                    <a:pt x="245" y="3"/>
                    <a:pt x="259" y="0"/>
                    <a:pt x="275" y="0"/>
                  </a:cubicBezTo>
                  <a:cubicBezTo>
                    <a:pt x="299" y="0"/>
                    <a:pt x="318" y="7"/>
                    <a:pt x="332" y="21"/>
                  </a:cubicBezTo>
                  <a:cubicBezTo>
                    <a:pt x="346" y="36"/>
                    <a:pt x="353" y="57"/>
                    <a:pt x="353" y="85"/>
                  </a:cubicBezTo>
                  <a:lnTo>
                    <a:pt x="353" y="235"/>
                  </a:lnTo>
                  <a:lnTo>
                    <a:pt x="287" y="235"/>
                  </a:lnTo>
                  <a:lnTo>
                    <a:pt x="287" y="107"/>
                  </a:lnTo>
                  <a:cubicBezTo>
                    <a:pt x="287" y="91"/>
                    <a:pt x="284" y="80"/>
                    <a:pt x="277" y="72"/>
                  </a:cubicBezTo>
                  <a:cubicBezTo>
                    <a:pt x="271" y="64"/>
                    <a:pt x="261" y="60"/>
                    <a:pt x="249" y="60"/>
                  </a:cubicBezTo>
                  <a:cubicBezTo>
                    <a:pt x="237" y="60"/>
                    <a:pt x="227" y="64"/>
                    <a:pt x="220" y="72"/>
                  </a:cubicBezTo>
                  <a:cubicBezTo>
                    <a:pt x="213" y="80"/>
                    <a:pt x="209" y="91"/>
                    <a:pt x="209" y="107"/>
                  </a:cubicBezTo>
                  <a:lnTo>
                    <a:pt x="209" y="235"/>
                  </a:lnTo>
                  <a:lnTo>
                    <a:pt x="144" y="235"/>
                  </a:lnTo>
                  <a:lnTo>
                    <a:pt x="144" y="107"/>
                  </a:lnTo>
                  <a:cubicBezTo>
                    <a:pt x="144" y="91"/>
                    <a:pt x="140" y="80"/>
                    <a:pt x="134" y="72"/>
                  </a:cubicBezTo>
                  <a:cubicBezTo>
                    <a:pt x="127" y="64"/>
                    <a:pt x="118" y="60"/>
                    <a:pt x="105" y="60"/>
                  </a:cubicBezTo>
                  <a:cubicBezTo>
                    <a:pt x="93" y="60"/>
                    <a:pt x="83" y="64"/>
                    <a:pt x="76" y="72"/>
                  </a:cubicBezTo>
                  <a:cubicBezTo>
                    <a:pt x="69" y="80"/>
                    <a:pt x="66" y="91"/>
                    <a:pt x="66" y="107"/>
                  </a:cubicBezTo>
                  <a:lnTo>
                    <a:pt x="66" y="235"/>
                  </a:lnTo>
                  <a:lnTo>
                    <a:pt x="0" y="235"/>
                  </a:lnTo>
                  <a:lnTo>
                    <a:pt x="0" y="4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1" name="Freeform 40">
              <a:extLst>
                <a:ext uri="{FF2B5EF4-FFF2-40B4-BE49-F238E27FC236}">
                  <a16:creationId xmlns:a16="http://schemas.microsoft.com/office/drawing/2014/main" id="{9A231D15-2359-82AE-0809-02F5666DDF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422"/>
              <a:ext cx="26" cy="30"/>
            </a:xfrm>
            <a:custGeom>
              <a:avLst/>
              <a:gdLst>
                <a:gd name="T0" fmla="*/ 99 w 212"/>
                <a:gd name="T1" fmla="*/ 192 h 237"/>
                <a:gd name="T2" fmla="*/ 136 w 212"/>
                <a:gd name="T3" fmla="*/ 181 h 237"/>
                <a:gd name="T4" fmla="*/ 150 w 212"/>
                <a:gd name="T5" fmla="*/ 152 h 237"/>
                <a:gd name="T6" fmla="*/ 150 w 212"/>
                <a:gd name="T7" fmla="*/ 140 h 237"/>
                <a:gd name="T8" fmla="*/ 131 w 212"/>
                <a:gd name="T9" fmla="*/ 134 h 237"/>
                <a:gd name="T10" fmla="*/ 108 w 212"/>
                <a:gd name="T11" fmla="*/ 131 h 237"/>
                <a:gd name="T12" fmla="*/ 75 w 212"/>
                <a:gd name="T13" fmla="*/ 140 h 237"/>
                <a:gd name="T14" fmla="*/ 63 w 212"/>
                <a:gd name="T15" fmla="*/ 163 h 237"/>
                <a:gd name="T16" fmla="*/ 63 w 212"/>
                <a:gd name="T17" fmla="*/ 164 h 237"/>
                <a:gd name="T18" fmla="*/ 73 w 212"/>
                <a:gd name="T19" fmla="*/ 185 h 237"/>
                <a:gd name="T20" fmla="*/ 99 w 212"/>
                <a:gd name="T21" fmla="*/ 192 h 237"/>
                <a:gd name="T22" fmla="*/ 79 w 212"/>
                <a:gd name="T23" fmla="*/ 237 h 237"/>
                <a:gd name="T24" fmla="*/ 48 w 212"/>
                <a:gd name="T25" fmla="*/ 233 h 237"/>
                <a:gd name="T26" fmla="*/ 23 w 212"/>
                <a:gd name="T27" fmla="*/ 219 h 237"/>
                <a:gd name="T28" fmla="*/ 6 w 212"/>
                <a:gd name="T29" fmla="*/ 197 h 237"/>
                <a:gd name="T30" fmla="*/ 0 w 212"/>
                <a:gd name="T31" fmla="*/ 167 h 237"/>
                <a:gd name="T32" fmla="*/ 0 w 212"/>
                <a:gd name="T33" fmla="*/ 166 h 237"/>
                <a:gd name="T34" fmla="*/ 7 w 212"/>
                <a:gd name="T35" fmla="*/ 133 h 237"/>
                <a:gd name="T36" fmla="*/ 26 w 212"/>
                <a:gd name="T37" fmla="*/ 110 h 237"/>
                <a:gd name="T38" fmla="*/ 55 w 212"/>
                <a:gd name="T39" fmla="*/ 97 h 237"/>
                <a:gd name="T40" fmla="*/ 93 w 212"/>
                <a:gd name="T41" fmla="*/ 92 h 237"/>
                <a:gd name="T42" fmla="*/ 124 w 212"/>
                <a:gd name="T43" fmla="*/ 95 h 237"/>
                <a:gd name="T44" fmla="*/ 149 w 212"/>
                <a:gd name="T45" fmla="*/ 102 h 237"/>
                <a:gd name="T46" fmla="*/ 149 w 212"/>
                <a:gd name="T47" fmla="*/ 98 h 237"/>
                <a:gd name="T48" fmla="*/ 137 w 212"/>
                <a:gd name="T49" fmla="*/ 66 h 237"/>
                <a:gd name="T50" fmla="*/ 100 w 212"/>
                <a:gd name="T51" fmla="*/ 56 h 237"/>
                <a:gd name="T52" fmla="*/ 66 w 212"/>
                <a:gd name="T53" fmla="*/ 59 h 237"/>
                <a:gd name="T54" fmla="*/ 36 w 212"/>
                <a:gd name="T55" fmla="*/ 68 h 237"/>
                <a:gd name="T56" fmla="*/ 20 w 212"/>
                <a:gd name="T57" fmla="*/ 18 h 237"/>
                <a:gd name="T58" fmla="*/ 59 w 212"/>
                <a:gd name="T59" fmla="*/ 5 h 237"/>
                <a:gd name="T60" fmla="*/ 109 w 212"/>
                <a:gd name="T61" fmla="*/ 0 h 237"/>
                <a:gd name="T62" fmla="*/ 156 w 212"/>
                <a:gd name="T63" fmla="*/ 6 h 237"/>
                <a:gd name="T64" fmla="*/ 187 w 212"/>
                <a:gd name="T65" fmla="*/ 26 h 237"/>
                <a:gd name="T66" fmla="*/ 206 w 212"/>
                <a:gd name="T67" fmla="*/ 57 h 237"/>
                <a:gd name="T68" fmla="*/ 212 w 212"/>
                <a:gd name="T69" fmla="*/ 99 h 237"/>
                <a:gd name="T70" fmla="*/ 212 w 212"/>
                <a:gd name="T71" fmla="*/ 233 h 237"/>
                <a:gd name="T72" fmla="*/ 149 w 212"/>
                <a:gd name="T73" fmla="*/ 233 h 237"/>
                <a:gd name="T74" fmla="*/ 149 w 212"/>
                <a:gd name="T75" fmla="*/ 208 h 237"/>
                <a:gd name="T76" fmla="*/ 120 w 212"/>
                <a:gd name="T77" fmla="*/ 230 h 237"/>
                <a:gd name="T78" fmla="*/ 79 w 212"/>
                <a:gd name="T79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2" h="237">
                  <a:moveTo>
                    <a:pt x="99" y="192"/>
                  </a:moveTo>
                  <a:cubicBezTo>
                    <a:pt x="114" y="192"/>
                    <a:pt x="127" y="189"/>
                    <a:pt x="136" y="181"/>
                  </a:cubicBezTo>
                  <a:cubicBezTo>
                    <a:pt x="145" y="174"/>
                    <a:pt x="150" y="164"/>
                    <a:pt x="150" y="152"/>
                  </a:cubicBezTo>
                  <a:lnTo>
                    <a:pt x="150" y="140"/>
                  </a:lnTo>
                  <a:cubicBezTo>
                    <a:pt x="144" y="138"/>
                    <a:pt x="138" y="135"/>
                    <a:pt x="131" y="134"/>
                  </a:cubicBezTo>
                  <a:cubicBezTo>
                    <a:pt x="124" y="132"/>
                    <a:pt x="116" y="131"/>
                    <a:pt x="108" y="131"/>
                  </a:cubicBezTo>
                  <a:cubicBezTo>
                    <a:pt x="94" y="131"/>
                    <a:pt x="83" y="134"/>
                    <a:pt x="75" y="140"/>
                  </a:cubicBezTo>
                  <a:cubicBezTo>
                    <a:pt x="67" y="145"/>
                    <a:pt x="63" y="153"/>
                    <a:pt x="63" y="163"/>
                  </a:cubicBezTo>
                  <a:lnTo>
                    <a:pt x="63" y="164"/>
                  </a:lnTo>
                  <a:cubicBezTo>
                    <a:pt x="63" y="173"/>
                    <a:pt x="66" y="180"/>
                    <a:pt x="73" y="185"/>
                  </a:cubicBezTo>
                  <a:cubicBezTo>
                    <a:pt x="80" y="190"/>
                    <a:pt x="88" y="192"/>
                    <a:pt x="99" y="192"/>
                  </a:cubicBezTo>
                  <a:close/>
                  <a:moveTo>
                    <a:pt x="79" y="237"/>
                  </a:moveTo>
                  <a:cubicBezTo>
                    <a:pt x="68" y="237"/>
                    <a:pt x="58" y="236"/>
                    <a:pt x="48" y="233"/>
                  </a:cubicBezTo>
                  <a:cubicBezTo>
                    <a:pt x="39" y="230"/>
                    <a:pt x="30" y="225"/>
                    <a:pt x="23" y="219"/>
                  </a:cubicBezTo>
                  <a:cubicBezTo>
                    <a:pt x="16" y="213"/>
                    <a:pt x="10" y="206"/>
                    <a:pt x="6" y="197"/>
                  </a:cubicBezTo>
                  <a:cubicBezTo>
                    <a:pt x="2" y="188"/>
                    <a:pt x="0" y="178"/>
                    <a:pt x="0" y="167"/>
                  </a:cubicBezTo>
                  <a:lnTo>
                    <a:pt x="0" y="166"/>
                  </a:lnTo>
                  <a:cubicBezTo>
                    <a:pt x="0" y="153"/>
                    <a:pt x="2" y="142"/>
                    <a:pt x="7" y="133"/>
                  </a:cubicBezTo>
                  <a:cubicBezTo>
                    <a:pt x="11" y="124"/>
                    <a:pt x="18" y="116"/>
                    <a:pt x="26" y="110"/>
                  </a:cubicBezTo>
                  <a:cubicBezTo>
                    <a:pt x="34" y="104"/>
                    <a:pt x="44" y="100"/>
                    <a:pt x="55" y="97"/>
                  </a:cubicBezTo>
                  <a:cubicBezTo>
                    <a:pt x="67" y="94"/>
                    <a:pt x="79" y="92"/>
                    <a:pt x="93" y="92"/>
                  </a:cubicBezTo>
                  <a:cubicBezTo>
                    <a:pt x="105" y="92"/>
                    <a:pt x="115" y="93"/>
                    <a:pt x="124" y="95"/>
                  </a:cubicBezTo>
                  <a:cubicBezTo>
                    <a:pt x="132" y="97"/>
                    <a:pt x="141" y="99"/>
                    <a:pt x="149" y="102"/>
                  </a:cubicBezTo>
                  <a:lnTo>
                    <a:pt x="149" y="98"/>
                  </a:lnTo>
                  <a:cubicBezTo>
                    <a:pt x="149" y="84"/>
                    <a:pt x="145" y="74"/>
                    <a:pt x="137" y="66"/>
                  </a:cubicBezTo>
                  <a:cubicBezTo>
                    <a:pt x="128" y="59"/>
                    <a:pt x="116" y="56"/>
                    <a:pt x="100" y="56"/>
                  </a:cubicBezTo>
                  <a:cubicBezTo>
                    <a:pt x="87" y="56"/>
                    <a:pt x="76" y="57"/>
                    <a:pt x="66" y="59"/>
                  </a:cubicBezTo>
                  <a:cubicBezTo>
                    <a:pt x="57" y="61"/>
                    <a:pt x="47" y="64"/>
                    <a:pt x="36" y="68"/>
                  </a:cubicBezTo>
                  <a:lnTo>
                    <a:pt x="20" y="18"/>
                  </a:lnTo>
                  <a:cubicBezTo>
                    <a:pt x="32" y="13"/>
                    <a:pt x="45" y="8"/>
                    <a:pt x="59" y="5"/>
                  </a:cubicBezTo>
                  <a:cubicBezTo>
                    <a:pt x="73" y="1"/>
                    <a:pt x="90" y="0"/>
                    <a:pt x="109" y="0"/>
                  </a:cubicBezTo>
                  <a:cubicBezTo>
                    <a:pt x="127" y="0"/>
                    <a:pt x="143" y="2"/>
                    <a:pt x="156" y="6"/>
                  </a:cubicBezTo>
                  <a:cubicBezTo>
                    <a:pt x="168" y="11"/>
                    <a:pt x="179" y="17"/>
                    <a:pt x="187" y="26"/>
                  </a:cubicBezTo>
                  <a:cubicBezTo>
                    <a:pt x="196" y="34"/>
                    <a:pt x="202" y="45"/>
                    <a:pt x="206" y="57"/>
                  </a:cubicBezTo>
                  <a:cubicBezTo>
                    <a:pt x="210" y="70"/>
                    <a:pt x="212" y="84"/>
                    <a:pt x="212" y="99"/>
                  </a:cubicBezTo>
                  <a:lnTo>
                    <a:pt x="212" y="233"/>
                  </a:lnTo>
                  <a:lnTo>
                    <a:pt x="149" y="233"/>
                  </a:lnTo>
                  <a:lnTo>
                    <a:pt x="149" y="208"/>
                  </a:lnTo>
                  <a:cubicBezTo>
                    <a:pt x="141" y="217"/>
                    <a:pt x="131" y="224"/>
                    <a:pt x="120" y="230"/>
                  </a:cubicBezTo>
                  <a:cubicBezTo>
                    <a:pt x="109" y="235"/>
                    <a:pt x="95" y="237"/>
                    <a:pt x="79" y="237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2" name="Freeform 41">
              <a:extLst>
                <a:ext uri="{FF2B5EF4-FFF2-40B4-BE49-F238E27FC236}">
                  <a16:creationId xmlns:a16="http://schemas.microsoft.com/office/drawing/2014/main" id="{D50A54CB-1CDE-CCFA-3D64-B9FBE9B42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1" y="422"/>
              <a:ext cx="27" cy="31"/>
            </a:xfrm>
            <a:custGeom>
              <a:avLst/>
              <a:gdLst>
                <a:gd name="T0" fmla="*/ 121 w 215"/>
                <a:gd name="T1" fmla="*/ 240 h 240"/>
                <a:gd name="T2" fmla="*/ 73 w 215"/>
                <a:gd name="T3" fmla="*/ 231 h 240"/>
                <a:gd name="T4" fmla="*/ 34 w 215"/>
                <a:gd name="T5" fmla="*/ 205 h 240"/>
                <a:gd name="T6" fmla="*/ 9 w 215"/>
                <a:gd name="T7" fmla="*/ 167 h 240"/>
                <a:gd name="T8" fmla="*/ 0 w 215"/>
                <a:gd name="T9" fmla="*/ 121 h 240"/>
                <a:gd name="T10" fmla="*/ 0 w 215"/>
                <a:gd name="T11" fmla="*/ 120 h 240"/>
                <a:gd name="T12" fmla="*/ 9 w 215"/>
                <a:gd name="T13" fmla="*/ 74 h 240"/>
                <a:gd name="T14" fmla="*/ 34 w 215"/>
                <a:gd name="T15" fmla="*/ 35 h 240"/>
                <a:gd name="T16" fmla="*/ 73 w 215"/>
                <a:gd name="T17" fmla="*/ 9 h 240"/>
                <a:gd name="T18" fmla="*/ 121 w 215"/>
                <a:gd name="T19" fmla="*/ 0 h 240"/>
                <a:gd name="T20" fmla="*/ 176 w 215"/>
                <a:gd name="T21" fmla="*/ 10 h 240"/>
                <a:gd name="T22" fmla="*/ 214 w 215"/>
                <a:gd name="T23" fmla="*/ 39 h 240"/>
                <a:gd name="T24" fmla="*/ 174 w 215"/>
                <a:gd name="T25" fmla="*/ 82 h 240"/>
                <a:gd name="T26" fmla="*/ 151 w 215"/>
                <a:gd name="T27" fmla="*/ 63 h 240"/>
                <a:gd name="T28" fmla="*/ 121 w 215"/>
                <a:gd name="T29" fmla="*/ 56 h 240"/>
                <a:gd name="T30" fmla="*/ 98 w 215"/>
                <a:gd name="T31" fmla="*/ 61 h 240"/>
                <a:gd name="T32" fmla="*/ 81 w 215"/>
                <a:gd name="T33" fmla="*/ 75 h 240"/>
                <a:gd name="T34" fmla="*/ 69 w 215"/>
                <a:gd name="T35" fmla="*/ 95 h 240"/>
                <a:gd name="T36" fmla="*/ 65 w 215"/>
                <a:gd name="T37" fmla="*/ 119 h 240"/>
                <a:gd name="T38" fmla="*/ 65 w 215"/>
                <a:gd name="T39" fmla="*/ 120 h 240"/>
                <a:gd name="T40" fmla="*/ 69 w 215"/>
                <a:gd name="T41" fmla="*/ 145 h 240"/>
                <a:gd name="T42" fmla="*/ 81 w 215"/>
                <a:gd name="T43" fmla="*/ 165 h 240"/>
                <a:gd name="T44" fmla="*/ 100 w 215"/>
                <a:gd name="T45" fmla="*/ 179 h 240"/>
                <a:gd name="T46" fmla="*/ 124 w 215"/>
                <a:gd name="T47" fmla="*/ 184 h 240"/>
                <a:gd name="T48" fmla="*/ 152 w 215"/>
                <a:gd name="T49" fmla="*/ 177 h 240"/>
                <a:gd name="T50" fmla="*/ 177 w 215"/>
                <a:gd name="T51" fmla="*/ 159 h 240"/>
                <a:gd name="T52" fmla="*/ 215 w 215"/>
                <a:gd name="T53" fmla="*/ 198 h 240"/>
                <a:gd name="T54" fmla="*/ 177 w 215"/>
                <a:gd name="T55" fmla="*/ 228 h 240"/>
                <a:gd name="T56" fmla="*/ 121 w 215"/>
                <a:gd name="T57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5" h="240">
                  <a:moveTo>
                    <a:pt x="121" y="240"/>
                  </a:moveTo>
                  <a:cubicBezTo>
                    <a:pt x="103" y="240"/>
                    <a:pt x="87" y="237"/>
                    <a:pt x="73" y="231"/>
                  </a:cubicBezTo>
                  <a:cubicBezTo>
                    <a:pt x="58" y="225"/>
                    <a:pt x="45" y="216"/>
                    <a:pt x="34" y="205"/>
                  </a:cubicBezTo>
                  <a:cubicBezTo>
                    <a:pt x="24" y="194"/>
                    <a:pt x="16" y="182"/>
                    <a:pt x="9" y="167"/>
                  </a:cubicBezTo>
                  <a:cubicBezTo>
                    <a:pt x="3" y="153"/>
                    <a:pt x="0" y="137"/>
                    <a:pt x="0" y="121"/>
                  </a:cubicBezTo>
                  <a:lnTo>
                    <a:pt x="0" y="120"/>
                  </a:lnTo>
                  <a:cubicBezTo>
                    <a:pt x="0" y="104"/>
                    <a:pt x="3" y="88"/>
                    <a:pt x="9" y="74"/>
                  </a:cubicBezTo>
                  <a:cubicBezTo>
                    <a:pt x="16" y="59"/>
                    <a:pt x="24" y="46"/>
                    <a:pt x="34" y="35"/>
                  </a:cubicBezTo>
                  <a:cubicBezTo>
                    <a:pt x="45" y="24"/>
                    <a:pt x="58" y="16"/>
                    <a:pt x="73" y="9"/>
                  </a:cubicBezTo>
                  <a:cubicBezTo>
                    <a:pt x="87" y="3"/>
                    <a:pt x="104" y="0"/>
                    <a:pt x="121" y="0"/>
                  </a:cubicBezTo>
                  <a:cubicBezTo>
                    <a:pt x="143" y="0"/>
                    <a:pt x="161" y="3"/>
                    <a:pt x="176" y="10"/>
                  </a:cubicBezTo>
                  <a:cubicBezTo>
                    <a:pt x="190" y="17"/>
                    <a:pt x="203" y="27"/>
                    <a:pt x="214" y="39"/>
                  </a:cubicBezTo>
                  <a:lnTo>
                    <a:pt x="174" y="82"/>
                  </a:lnTo>
                  <a:cubicBezTo>
                    <a:pt x="166" y="74"/>
                    <a:pt x="158" y="68"/>
                    <a:pt x="151" y="63"/>
                  </a:cubicBezTo>
                  <a:cubicBezTo>
                    <a:pt x="143" y="59"/>
                    <a:pt x="133" y="56"/>
                    <a:pt x="121" y="56"/>
                  </a:cubicBezTo>
                  <a:cubicBezTo>
                    <a:pt x="113" y="56"/>
                    <a:pt x="105" y="58"/>
                    <a:pt x="98" y="61"/>
                  </a:cubicBezTo>
                  <a:cubicBezTo>
                    <a:pt x="92" y="65"/>
                    <a:pt x="86" y="69"/>
                    <a:pt x="81" y="75"/>
                  </a:cubicBezTo>
                  <a:cubicBezTo>
                    <a:pt x="76" y="81"/>
                    <a:pt x="72" y="87"/>
                    <a:pt x="69" y="95"/>
                  </a:cubicBezTo>
                  <a:cubicBezTo>
                    <a:pt x="66" y="103"/>
                    <a:pt x="65" y="111"/>
                    <a:pt x="65" y="119"/>
                  </a:cubicBezTo>
                  <a:lnTo>
                    <a:pt x="65" y="120"/>
                  </a:lnTo>
                  <a:cubicBezTo>
                    <a:pt x="65" y="129"/>
                    <a:pt x="66" y="137"/>
                    <a:pt x="69" y="145"/>
                  </a:cubicBezTo>
                  <a:cubicBezTo>
                    <a:pt x="72" y="153"/>
                    <a:pt x="76" y="160"/>
                    <a:pt x="81" y="165"/>
                  </a:cubicBezTo>
                  <a:cubicBezTo>
                    <a:pt x="86" y="171"/>
                    <a:pt x="92" y="176"/>
                    <a:pt x="100" y="179"/>
                  </a:cubicBezTo>
                  <a:cubicBezTo>
                    <a:pt x="107" y="182"/>
                    <a:pt x="115" y="184"/>
                    <a:pt x="124" y="184"/>
                  </a:cubicBezTo>
                  <a:cubicBezTo>
                    <a:pt x="135" y="184"/>
                    <a:pt x="144" y="182"/>
                    <a:pt x="152" y="177"/>
                  </a:cubicBezTo>
                  <a:cubicBezTo>
                    <a:pt x="160" y="173"/>
                    <a:pt x="169" y="167"/>
                    <a:pt x="177" y="159"/>
                  </a:cubicBezTo>
                  <a:lnTo>
                    <a:pt x="215" y="198"/>
                  </a:lnTo>
                  <a:cubicBezTo>
                    <a:pt x="204" y="210"/>
                    <a:pt x="191" y="221"/>
                    <a:pt x="177" y="228"/>
                  </a:cubicBezTo>
                  <a:cubicBezTo>
                    <a:pt x="162" y="236"/>
                    <a:pt x="144" y="240"/>
                    <a:pt x="121" y="240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3" name="Freeform 42">
              <a:extLst>
                <a:ext uri="{FF2B5EF4-FFF2-40B4-BE49-F238E27FC236}">
                  <a16:creationId xmlns:a16="http://schemas.microsoft.com/office/drawing/2014/main" id="{DF918645-2F09-E333-C990-B30931A4D2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3" y="412"/>
              <a:ext cx="9" cy="40"/>
            </a:xfrm>
            <a:custGeom>
              <a:avLst/>
              <a:gdLst>
                <a:gd name="T0" fmla="*/ 2 w 69"/>
                <a:gd name="T1" fmla="*/ 83 h 314"/>
                <a:gd name="T2" fmla="*/ 67 w 69"/>
                <a:gd name="T3" fmla="*/ 83 h 314"/>
                <a:gd name="T4" fmla="*/ 67 w 69"/>
                <a:gd name="T5" fmla="*/ 314 h 314"/>
                <a:gd name="T6" fmla="*/ 2 w 69"/>
                <a:gd name="T7" fmla="*/ 314 h 314"/>
                <a:gd name="T8" fmla="*/ 2 w 69"/>
                <a:gd name="T9" fmla="*/ 83 h 314"/>
                <a:gd name="T10" fmla="*/ 0 w 69"/>
                <a:gd name="T11" fmla="*/ 0 h 314"/>
                <a:gd name="T12" fmla="*/ 69 w 69"/>
                <a:gd name="T13" fmla="*/ 0 h 314"/>
                <a:gd name="T14" fmla="*/ 69 w 69"/>
                <a:gd name="T15" fmla="*/ 58 h 314"/>
                <a:gd name="T16" fmla="*/ 0 w 69"/>
                <a:gd name="T17" fmla="*/ 58 h 314"/>
                <a:gd name="T18" fmla="*/ 0 w 69"/>
                <a:gd name="T19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314">
                  <a:moveTo>
                    <a:pt x="2" y="83"/>
                  </a:moveTo>
                  <a:lnTo>
                    <a:pt x="67" y="83"/>
                  </a:lnTo>
                  <a:lnTo>
                    <a:pt x="67" y="314"/>
                  </a:lnTo>
                  <a:lnTo>
                    <a:pt x="2" y="314"/>
                  </a:lnTo>
                  <a:lnTo>
                    <a:pt x="2" y="83"/>
                  </a:lnTo>
                  <a:close/>
                  <a:moveTo>
                    <a:pt x="0" y="0"/>
                  </a:moveTo>
                  <a:lnTo>
                    <a:pt x="69" y="0"/>
                  </a:lnTo>
                  <a:lnTo>
                    <a:pt x="69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4" name="Freeform 43">
              <a:extLst>
                <a:ext uri="{FF2B5EF4-FFF2-40B4-BE49-F238E27FC236}">
                  <a16:creationId xmlns:a16="http://schemas.microsoft.com/office/drawing/2014/main" id="{8FC3731A-04B9-C6E5-FB26-541BE3B7D6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" y="410"/>
              <a:ext cx="31" cy="43"/>
            </a:xfrm>
            <a:custGeom>
              <a:avLst/>
              <a:gdLst>
                <a:gd name="T0" fmla="*/ 148 w 249"/>
                <a:gd name="T1" fmla="*/ 0 h 337"/>
                <a:gd name="T2" fmla="*/ 205 w 249"/>
                <a:gd name="T3" fmla="*/ 24 h 337"/>
                <a:gd name="T4" fmla="*/ 149 w 249"/>
                <a:gd name="T5" fmla="*/ 76 h 337"/>
                <a:gd name="T6" fmla="*/ 99 w 249"/>
                <a:gd name="T7" fmla="*/ 76 h 337"/>
                <a:gd name="T8" fmla="*/ 148 w 249"/>
                <a:gd name="T9" fmla="*/ 0 h 337"/>
                <a:gd name="T10" fmla="*/ 125 w 249"/>
                <a:gd name="T11" fmla="*/ 281 h 337"/>
                <a:gd name="T12" fmla="*/ 150 w 249"/>
                <a:gd name="T13" fmla="*/ 276 h 337"/>
                <a:gd name="T14" fmla="*/ 169 w 249"/>
                <a:gd name="T15" fmla="*/ 262 h 337"/>
                <a:gd name="T16" fmla="*/ 181 w 249"/>
                <a:gd name="T17" fmla="*/ 242 h 337"/>
                <a:gd name="T18" fmla="*/ 185 w 249"/>
                <a:gd name="T19" fmla="*/ 218 h 337"/>
                <a:gd name="T20" fmla="*/ 185 w 249"/>
                <a:gd name="T21" fmla="*/ 217 h 337"/>
                <a:gd name="T22" fmla="*/ 180 w 249"/>
                <a:gd name="T23" fmla="*/ 193 h 337"/>
                <a:gd name="T24" fmla="*/ 168 w 249"/>
                <a:gd name="T25" fmla="*/ 173 h 337"/>
                <a:gd name="T26" fmla="*/ 149 w 249"/>
                <a:gd name="T27" fmla="*/ 159 h 337"/>
                <a:gd name="T28" fmla="*/ 124 w 249"/>
                <a:gd name="T29" fmla="*/ 153 h 337"/>
                <a:gd name="T30" fmla="*/ 99 w 249"/>
                <a:gd name="T31" fmla="*/ 158 h 337"/>
                <a:gd name="T32" fmla="*/ 80 w 249"/>
                <a:gd name="T33" fmla="*/ 172 h 337"/>
                <a:gd name="T34" fmla="*/ 68 w 249"/>
                <a:gd name="T35" fmla="*/ 192 h 337"/>
                <a:gd name="T36" fmla="*/ 64 w 249"/>
                <a:gd name="T37" fmla="*/ 216 h 337"/>
                <a:gd name="T38" fmla="*/ 64 w 249"/>
                <a:gd name="T39" fmla="*/ 217 h 337"/>
                <a:gd name="T40" fmla="*/ 68 w 249"/>
                <a:gd name="T41" fmla="*/ 241 h 337"/>
                <a:gd name="T42" fmla="*/ 81 w 249"/>
                <a:gd name="T43" fmla="*/ 262 h 337"/>
                <a:gd name="T44" fmla="*/ 100 w 249"/>
                <a:gd name="T45" fmla="*/ 276 h 337"/>
                <a:gd name="T46" fmla="*/ 125 w 249"/>
                <a:gd name="T47" fmla="*/ 281 h 337"/>
                <a:gd name="T48" fmla="*/ 124 w 249"/>
                <a:gd name="T49" fmla="*/ 337 h 337"/>
                <a:gd name="T50" fmla="*/ 74 w 249"/>
                <a:gd name="T51" fmla="*/ 328 h 337"/>
                <a:gd name="T52" fmla="*/ 35 w 249"/>
                <a:gd name="T53" fmla="*/ 303 h 337"/>
                <a:gd name="T54" fmla="*/ 9 w 249"/>
                <a:gd name="T55" fmla="*/ 265 h 337"/>
                <a:gd name="T56" fmla="*/ 0 w 249"/>
                <a:gd name="T57" fmla="*/ 218 h 337"/>
                <a:gd name="T58" fmla="*/ 0 w 249"/>
                <a:gd name="T59" fmla="*/ 217 h 337"/>
                <a:gd name="T60" fmla="*/ 9 w 249"/>
                <a:gd name="T61" fmla="*/ 170 h 337"/>
                <a:gd name="T62" fmla="*/ 35 w 249"/>
                <a:gd name="T63" fmla="*/ 132 h 337"/>
                <a:gd name="T64" fmla="*/ 75 w 249"/>
                <a:gd name="T65" fmla="*/ 106 h 337"/>
                <a:gd name="T66" fmla="*/ 125 w 249"/>
                <a:gd name="T67" fmla="*/ 97 h 337"/>
                <a:gd name="T68" fmla="*/ 174 w 249"/>
                <a:gd name="T69" fmla="*/ 106 h 337"/>
                <a:gd name="T70" fmla="*/ 214 w 249"/>
                <a:gd name="T71" fmla="*/ 132 h 337"/>
                <a:gd name="T72" fmla="*/ 240 w 249"/>
                <a:gd name="T73" fmla="*/ 170 h 337"/>
                <a:gd name="T74" fmla="*/ 249 w 249"/>
                <a:gd name="T75" fmla="*/ 216 h 337"/>
                <a:gd name="T76" fmla="*/ 249 w 249"/>
                <a:gd name="T77" fmla="*/ 217 h 337"/>
                <a:gd name="T78" fmla="*/ 240 w 249"/>
                <a:gd name="T79" fmla="*/ 264 h 337"/>
                <a:gd name="T80" fmla="*/ 214 w 249"/>
                <a:gd name="T81" fmla="*/ 302 h 337"/>
                <a:gd name="T82" fmla="*/ 174 w 249"/>
                <a:gd name="T83" fmla="*/ 328 h 337"/>
                <a:gd name="T84" fmla="*/ 124 w 249"/>
                <a:gd name="T85" fmla="*/ 33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9" h="337">
                  <a:moveTo>
                    <a:pt x="148" y="0"/>
                  </a:moveTo>
                  <a:lnTo>
                    <a:pt x="205" y="24"/>
                  </a:lnTo>
                  <a:lnTo>
                    <a:pt x="149" y="76"/>
                  </a:lnTo>
                  <a:lnTo>
                    <a:pt x="99" y="76"/>
                  </a:lnTo>
                  <a:lnTo>
                    <a:pt x="148" y="0"/>
                  </a:lnTo>
                  <a:close/>
                  <a:moveTo>
                    <a:pt x="125" y="281"/>
                  </a:moveTo>
                  <a:cubicBezTo>
                    <a:pt x="134" y="281"/>
                    <a:pt x="143" y="279"/>
                    <a:pt x="150" y="276"/>
                  </a:cubicBezTo>
                  <a:cubicBezTo>
                    <a:pt x="157" y="273"/>
                    <a:pt x="164" y="268"/>
                    <a:pt x="169" y="262"/>
                  </a:cubicBezTo>
                  <a:cubicBezTo>
                    <a:pt x="174" y="257"/>
                    <a:pt x="178" y="250"/>
                    <a:pt x="181" y="242"/>
                  </a:cubicBezTo>
                  <a:cubicBezTo>
                    <a:pt x="183" y="235"/>
                    <a:pt x="185" y="227"/>
                    <a:pt x="185" y="218"/>
                  </a:cubicBezTo>
                  <a:lnTo>
                    <a:pt x="185" y="217"/>
                  </a:lnTo>
                  <a:cubicBezTo>
                    <a:pt x="185" y="209"/>
                    <a:pt x="183" y="200"/>
                    <a:pt x="180" y="193"/>
                  </a:cubicBezTo>
                  <a:cubicBezTo>
                    <a:pt x="178" y="185"/>
                    <a:pt x="173" y="178"/>
                    <a:pt x="168" y="173"/>
                  </a:cubicBezTo>
                  <a:cubicBezTo>
                    <a:pt x="163" y="167"/>
                    <a:pt x="156" y="162"/>
                    <a:pt x="149" y="159"/>
                  </a:cubicBezTo>
                  <a:cubicBezTo>
                    <a:pt x="141" y="155"/>
                    <a:pt x="133" y="153"/>
                    <a:pt x="124" y="153"/>
                  </a:cubicBezTo>
                  <a:cubicBezTo>
                    <a:pt x="115" y="153"/>
                    <a:pt x="106" y="155"/>
                    <a:pt x="99" y="158"/>
                  </a:cubicBezTo>
                  <a:cubicBezTo>
                    <a:pt x="92" y="162"/>
                    <a:pt x="85" y="166"/>
                    <a:pt x="80" y="172"/>
                  </a:cubicBezTo>
                  <a:cubicBezTo>
                    <a:pt x="75" y="178"/>
                    <a:pt x="71" y="184"/>
                    <a:pt x="68" y="192"/>
                  </a:cubicBezTo>
                  <a:cubicBezTo>
                    <a:pt x="66" y="200"/>
                    <a:pt x="64" y="208"/>
                    <a:pt x="64" y="216"/>
                  </a:cubicBezTo>
                  <a:lnTo>
                    <a:pt x="64" y="217"/>
                  </a:lnTo>
                  <a:cubicBezTo>
                    <a:pt x="64" y="226"/>
                    <a:pt x="66" y="234"/>
                    <a:pt x="68" y="241"/>
                  </a:cubicBezTo>
                  <a:cubicBezTo>
                    <a:pt x="71" y="249"/>
                    <a:pt x="75" y="256"/>
                    <a:pt x="81" y="262"/>
                  </a:cubicBezTo>
                  <a:cubicBezTo>
                    <a:pt x="86" y="268"/>
                    <a:pt x="93" y="272"/>
                    <a:pt x="100" y="276"/>
                  </a:cubicBezTo>
                  <a:cubicBezTo>
                    <a:pt x="107" y="279"/>
                    <a:pt x="116" y="281"/>
                    <a:pt x="125" y="281"/>
                  </a:cubicBezTo>
                  <a:close/>
                  <a:moveTo>
                    <a:pt x="124" y="337"/>
                  </a:moveTo>
                  <a:cubicBezTo>
                    <a:pt x="106" y="337"/>
                    <a:pt x="90" y="334"/>
                    <a:pt x="74" y="328"/>
                  </a:cubicBezTo>
                  <a:cubicBezTo>
                    <a:pt x="59" y="322"/>
                    <a:pt x="46" y="313"/>
                    <a:pt x="35" y="303"/>
                  </a:cubicBezTo>
                  <a:cubicBezTo>
                    <a:pt x="24" y="292"/>
                    <a:pt x="15" y="279"/>
                    <a:pt x="9" y="265"/>
                  </a:cubicBezTo>
                  <a:cubicBezTo>
                    <a:pt x="3" y="250"/>
                    <a:pt x="0" y="235"/>
                    <a:pt x="0" y="218"/>
                  </a:cubicBezTo>
                  <a:lnTo>
                    <a:pt x="0" y="217"/>
                  </a:lnTo>
                  <a:cubicBezTo>
                    <a:pt x="0" y="200"/>
                    <a:pt x="3" y="185"/>
                    <a:pt x="9" y="170"/>
                  </a:cubicBezTo>
                  <a:cubicBezTo>
                    <a:pt x="15" y="156"/>
                    <a:pt x="24" y="143"/>
                    <a:pt x="35" y="132"/>
                  </a:cubicBezTo>
                  <a:cubicBezTo>
                    <a:pt x="46" y="121"/>
                    <a:pt x="60" y="113"/>
                    <a:pt x="75" y="106"/>
                  </a:cubicBezTo>
                  <a:cubicBezTo>
                    <a:pt x="90" y="100"/>
                    <a:pt x="107" y="97"/>
                    <a:pt x="125" y="97"/>
                  </a:cubicBezTo>
                  <a:cubicBezTo>
                    <a:pt x="143" y="97"/>
                    <a:pt x="159" y="100"/>
                    <a:pt x="174" y="106"/>
                  </a:cubicBezTo>
                  <a:cubicBezTo>
                    <a:pt x="190" y="112"/>
                    <a:pt x="203" y="121"/>
                    <a:pt x="214" y="132"/>
                  </a:cubicBezTo>
                  <a:cubicBezTo>
                    <a:pt x="225" y="142"/>
                    <a:pt x="234" y="155"/>
                    <a:pt x="240" y="170"/>
                  </a:cubicBezTo>
                  <a:cubicBezTo>
                    <a:pt x="246" y="184"/>
                    <a:pt x="249" y="200"/>
                    <a:pt x="249" y="216"/>
                  </a:cubicBezTo>
                  <a:lnTo>
                    <a:pt x="249" y="217"/>
                  </a:lnTo>
                  <a:cubicBezTo>
                    <a:pt x="249" y="234"/>
                    <a:pt x="246" y="249"/>
                    <a:pt x="240" y="264"/>
                  </a:cubicBezTo>
                  <a:cubicBezTo>
                    <a:pt x="234" y="278"/>
                    <a:pt x="225" y="291"/>
                    <a:pt x="214" y="302"/>
                  </a:cubicBezTo>
                  <a:cubicBezTo>
                    <a:pt x="202" y="313"/>
                    <a:pt x="189" y="322"/>
                    <a:pt x="174" y="328"/>
                  </a:cubicBezTo>
                  <a:cubicBezTo>
                    <a:pt x="159" y="334"/>
                    <a:pt x="142" y="337"/>
                    <a:pt x="124" y="337"/>
                  </a:cubicBez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5" name="Freeform 44">
              <a:extLst>
                <a:ext uri="{FF2B5EF4-FFF2-40B4-BE49-F238E27FC236}">
                  <a16:creationId xmlns:a16="http://schemas.microsoft.com/office/drawing/2014/main" id="{17B44B83-C310-459F-5F24-34446BCDC1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5" y="422"/>
              <a:ext cx="26" cy="30"/>
            </a:xfrm>
            <a:custGeom>
              <a:avLst/>
              <a:gdLst>
                <a:gd name="T0" fmla="*/ 0 w 211"/>
                <a:gd name="T1" fmla="*/ 4 h 235"/>
                <a:gd name="T2" fmla="*/ 65 w 211"/>
                <a:gd name="T3" fmla="*/ 4 h 235"/>
                <a:gd name="T4" fmla="*/ 65 w 211"/>
                <a:gd name="T5" fmla="*/ 37 h 235"/>
                <a:gd name="T6" fmla="*/ 78 w 211"/>
                <a:gd name="T7" fmla="*/ 23 h 235"/>
                <a:gd name="T8" fmla="*/ 92 w 211"/>
                <a:gd name="T9" fmla="*/ 11 h 235"/>
                <a:gd name="T10" fmla="*/ 111 w 211"/>
                <a:gd name="T11" fmla="*/ 3 h 235"/>
                <a:gd name="T12" fmla="*/ 133 w 211"/>
                <a:gd name="T13" fmla="*/ 0 h 235"/>
                <a:gd name="T14" fmla="*/ 191 w 211"/>
                <a:gd name="T15" fmla="*/ 23 h 235"/>
                <a:gd name="T16" fmla="*/ 211 w 211"/>
                <a:gd name="T17" fmla="*/ 86 h 235"/>
                <a:gd name="T18" fmla="*/ 211 w 211"/>
                <a:gd name="T19" fmla="*/ 235 h 235"/>
                <a:gd name="T20" fmla="*/ 146 w 211"/>
                <a:gd name="T21" fmla="*/ 235 h 235"/>
                <a:gd name="T22" fmla="*/ 146 w 211"/>
                <a:gd name="T23" fmla="*/ 107 h 235"/>
                <a:gd name="T24" fmla="*/ 135 w 211"/>
                <a:gd name="T25" fmla="*/ 72 h 235"/>
                <a:gd name="T26" fmla="*/ 106 w 211"/>
                <a:gd name="T27" fmla="*/ 60 h 235"/>
                <a:gd name="T28" fmla="*/ 76 w 211"/>
                <a:gd name="T29" fmla="*/ 72 h 235"/>
                <a:gd name="T30" fmla="*/ 65 w 211"/>
                <a:gd name="T31" fmla="*/ 107 h 235"/>
                <a:gd name="T32" fmla="*/ 65 w 211"/>
                <a:gd name="T33" fmla="*/ 235 h 235"/>
                <a:gd name="T34" fmla="*/ 0 w 211"/>
                <a:gd name="T35" fmla="*/ 235 h 235"/>
                <a:gd name="T36" fmla="*/ 0 w 211"/>
                <a:gd name="T37" fmla="*/ 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1" h="235">
                  <a:moveTo>
                    <a:pt x="0" y="4"/>
                  </a:moveTo>
                  <a:lnTo>
                    <a:pt x="65" y="4"/>
                  </a:lnTo>
                  <a:lnTo>
                    <a:pt x="65" y="37"/>
                  </a:lnTo>
                  <a:cubicBezTo>
                    <a:pt x="69" y="32"/>
                    <a:pt x="73" y="28"/>
                    <a:pt x="78" y="23"/>
                  </a:cubicBezTo>
                  <a:cubicBezTo>
                    <a:pt x="82" y="19"/>
                    <a:pt x="87" y="15"/>
                    <a:pt x="92" y="11"/>
                  </a:cubicBezTo>
                  <a:cubicBezTo>
                    <a:pt x="98" y="8"/>
                    <a:pt x="104" y="5"/>
                    <a:pt x="111" y="3"/>
                  </a:cubicBezTo>
                  <a:cubicBezTo>
                    <a:pt x="117" y="1"/>
                    <a:pt x="125" y="0"/>
                    <a:pt x="133" y="0"/>
                  </a:cubicBezTo>
                  <a:cubicBezTo>
                    <a:pt x="158" y="0"/>
                    <a:pt x="177" y="8"/>
                    <a:pt x="191" y="23"/>
                  </a:cubicBezTo>
                  <a:cubicBezTo>
                    <a:pt x="204" y="38"/>
                    <a:pt x="211" y="59"/>
                    <a:pt x="211" y="86"/>
                  </a:cubicBezTo>
                  <a:lnTo>
                    <a:pt x="211" y="235"/>
                  </a:lnTo>
                  <a:lnTo>
                    <a:pt x="146" y="235"/>
                  </a:lnTo>
                  <a:lnTo>
                    <a:pt x="146" y="107"/>
                  </a:lnTo>
                  <a:cubicBezTo>
                    <a:pt x="146" y="91"/>
                    <a:pt x="142" y="80"/>
                    <a:pt x="135" y="72"/>
                  </a:cubicBezTo>
                  <a:cubicBezTo>
                    <a:pt x="129" y="64"/>
                    <a:pt x="119" y="60"/>
                    <a:pt x="106" y="60"/>
                  </a:cubicBezTo>
                  <a:cubicBezTo>
                    <a:pt x="94" y="60"/>
                    <a:pt x="84" y="64"/>
                    <a:pt x="76" y="72"/>
                  </a:cubicBezTo>
                  <a:cubicBezTo>
                    <a:pt x="69" y="80"/>
                    <a:pt x="65" y="91"/>
                    <a:pt x="65" y="107"/>
                  </a:cubicBezTo>
                  <a:lnTo>
                    <a:pt x="65" y="235"/>
                  </a:lnTo>
                  <a:lnTo>
                    <a:pt x="0" y="235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6" name="Freeform 45">
              <a:extLst>
                <a:ext uri="{FF2B5EF4-FFF2-40B4-BE49-F238E27FC236}">
                  <a16:creationId xmlns:a16="http://schemas.microsoft.com/office/drawing/2014/main" id="{EFB898A5-4960-6B0B-7DAF-44B674DF4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6" y="478"/>
              <a:ext cx="30" cy="39"/>
            </a:xfrm>
            <a:custGeom>
              <a:avLst/>
              <a:gdLst>
                <a:gd name="T0" fmla="*/ 75 w 240"/>
                <a:gd name="T1" fmla="*/ 301 h 301"/>
                <a:gd name="T2" fmla="*/ 44 w 240"/>
                <a:gd name="T3" fmla="*/ 297 h 301"/>
                <a:gd name="T4" fmla="*/ 17 w 240"/>
                <a:gd name="T5" fmla="*/ 285 h 301"/>
                <a:gd name="T6" fmla="*/ 39 w 240"/>
                <a:gd name="T7" fmla="*/ 238 h 301"/>
                <a:gd name="T8" fmla="*/ 53 w 240"/>
                <a:gd name="T9" fmla="*/ 244 h 301"/>
                <a:gd name="T10" fmla="*/ 67 w 240"/>
                <a:gd name="T11" fmla="*/ 247 h 301"/>
                <a:gd name="T12" fmla="*/ 81 w 240"/>
                <a:gd name="T13" fmla="*/ 243 h 301"/>
                <a:gd name="T14" fmla="*/ 90 w 240"/>
                <a:gd name="T15" fmla="*/ 231 h 301"/>
                <a:gd name="T16" fmla="*/ 0 w 240"/>
                <a:gd name="T17" fmla="*/ 0 h 301"/>
                <a:gd name="T18" fmla="*/ 69 w 240"/>
                <a:gd name="T19" fmla="*/ 0 h 301"/>
                <a:gd name="T20" fmla="*/ 122 w 240"/>
                <a:gd name="T21" fmla="*/ 157 h 301"/>
                <a:gd name="T22" fmla="*/ 172 w 240"/>
                <a:gd name="T23" fmla="*/ 0 h 301"/>
                <a:gd name="T24" fmla="*/ 240 w 240"/>
                <a:gd name="T25" fmla="*/ 0 h 301"/>
                <a:gd name="T26" fmla="*/ 151 w 240"/>
                <a:gd name="T27" fmla="*/ 236 h 301"/>
                <a:gd name="T28" fmla="*/ 137 w 240"/>
                <a:gd name="T29" fmla="*/ 266 h 301"/>
                <a:gd name="T30" fmla="*/ 121 w 240"/>
                <a:gd name="T31" fmla="*/ 286 h 301"/>
                <a:gd name="T32" fmla="*/ 101 w 240"/>
                <a:gd name="T33" fmla="*/ 297 h 301"/>
                <a:gd name="T34" fmla="*/ 75 w 240"/>
                <a:gd name="T35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301">
                  <a:moveTo>
                    <a:pt x="75" y="301"/>
                  </a:moveTo>
                  <a:cubicBezTo>
                    <a:pt x="63" y="301"/>
                    <a:pt x="53" y="299"/>
                    <a:pt x="44" y="297"/>
                  </a:cubicBezTo>
                  <a:cubicBezTo>
                    <a:pt x="34" y="294"/>
                    <a:pt x="26" y="290"/>
                    <a:pt x="17" y="285"/>
                  </a:cubicBezTo>
                  <a:lnTo>
                    <a:pt x="39" y="238"/>
                  </a:lnTo>
                  <a:cubicBezTo>
                    <a:pt x="44" y="240"/>
                    <a:pt x="48" y="242"/>
                    <a:pt x="53" y="244"/>
                  </a:cubicBezTo>
                  <a:cubicBezTo>
                    <a:pt x="58" y="246"/>
                    <a:pt x="63" y="247"/>
                    <a:pt x="67" y="247"/>
                  </a:cubicBezTo>
                  <a:cubicBezTo>
                    <a:pt x="73" y="247"/>
                    <a:pt x="78" y="245"/>
                    <a:pt x="81" y="243"/>
                  </a:cubicBezTo>
                  <a:cubicBezTo>
                    <a:pt x="84" y="241"/>
                    <a:pt x="87" y="237"/>
                    <a:pt x="90" y="231"/>
                  </a:cubicBezTo>
                  <a:lnTo>
                    <a:pt x="0" y="0"/>
                  </a:lnTo>
                  <a:lnTo>
                    <a:pt x="69" y="0"/>
                  </a:lnTo>
                  <a:lnTo>
                    <a:pt x="122" y="157"/>
                  </a:lnTo>
                  <a:lnTo>
                    <a:pt x="172" y="0"/>
                  </a:lnTo>
                  <a:lnTo>
                    <a:pt x="240" y="0"/>
                  </a:lnTo>
                  <a:lnTo>
                    <a:pt x="151" y="236"/>
                  </a:lnTo>
                  <a:cubicBezTo>
                    <a:pt x="147" y="248"/>
                    <a:pt x="142" y="258"/>
                    <a:pt x="137" y="266"/>
                  </a:cubicBezTo>
                  <a:cubicBezTo>
                    <a:pt x="133" y="274"/>
                    <a:pt x="127" y="281"/>
                    <a:pt x="121" y="286"/>
                  </a:cubicBezTo>
                  <a:cubicBezTo>
                    <a:pt x="115" y="291"/>
                    <a:pt x="109" y="295"/>
                    <a:pt x="101" y="297"/>
                  </a:cubicBezTo>
                  <a:cubicBezTo>
                    <a:pt x="94" y="300"/>
                    <a:pt x="85" y="301"/>
                    <a:pt x="75" y="301"/>
                  </a:cubicBez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7" name="Freeform 46">
              <a:extLst>
                <a:ext uri="{FF2B5EF4-FFF2-40B4-BE49-F238E27FC236}">
                  <a16:creationId xmlns:a16="http://schemas.microsoft.com/office/drawing/2014/main" id="{7782A99A-A8A7-126B-AF11-808A034C9F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8" y="469"/>
              <a:ext cx="32" cy="39"/>
            </a:xfrm>
            <a:custGeom>
              <a:avLst/>
              <a:gdLst>
                <a:gd name="T0" fmla="*/ 133 w 261"/>
                <a:gd name="T1" fmla="*/ 147 h 302"/>
                <a:gd name="T2" fmla="*/ 171 w 261"/>
                <a:gd name="T3" fmla="*/ 135 h 302"/>
                <a:gd name="T4" fmla="*/ 184 w 261"/>
                <a:gd name="T5" fmla="*/ 104 h 302"/>
                <a:gd name="T6" fmla="*/ 184 w 261"/>
                <a:gd name="T7" fmla="*/ 103 h 302"/>
                <a:gd name="T8" fmla="*/ 170 w 261"/>
                <a:gd name="T9" fmla="*/ 71 h 302"/>
                <a:gd name="T10" fmla="*/ 132 w 261"/>
                <a:gd name="T11" fmla="*/ 60 h 302"/>
                <a:gd name="T12" fmla="*/ 66 w 261"/>
                <a:gd name="T13" fmla="*/ 60 h 302"/>
                <a:gd name="T14" fmla="*/ 66 w 261"/>
                <a:gd name="T15" fmla="*/ 147 h 302"/>
                <a:gd name="T16" fmla="*/ 133 w 261"/>
                <a:gd name="T17" fmla="*/ 147 h 302"/>
                <a:gd name="T18" fmla="*/ 0 w 261"/>
                <a:gd name="T19" fmla="*/ 0 h 302"/>
                <a:gd name="T20" fmla="*/ 138 w 261"/>
                <a:gd name="T21" fmla="*/ 0 h 302"/>
                <a:gd name="T22" fmla="*/ 226 w 261"/>
                <a:gd name="T23" fmla="*/ 31 h 302"/>
                <a:gd name="T24" fmla="*/ 251 w 261"/>
                <a:gd name="T25" fmla="*/ 100 h 302"/>
                <a:gd name="T26" fmla="*/ 251 w 261"/>
                <a:gd name="T27" fmla="*/ 100 h 302"/>
                <a:gd name="T28" fmla="*/ 234 w 261"/>
                <a:gd name="T29" fmla="*/ 160 h 302"/>
                <a:gd name="T30" fmla="*/ 187 w 261"/>
                <a:gd name="T31" fmla="*/ 194 h 302"/>
                <a:gd name="T32" fmla="*/ 261 w 261"/>
                <a:gd name="T33" fmla="*/ 302 h 302"/>
                <a:gd name="T34" fmla="*/ 183 w 261"/>
                <a:gd name="T35" fmla="*/ 302 h 302"/>
                <a:gd name="T36" fmla="*/ 118 w 261"/>
                <a:gd name="T37" fmla="*/ 205 h 302"/>
                <a:gd name="T38" fmla="*/ 118 w 261"/>
                <a:gd name="T39" fmla="*/ 205 h 302"/>
                <a:gd name="T40" fmla="*/ 66 w 261"/>
                <a:gd name="T41" fmla="*/ 205 h 302"/>
                <a:gd name="T42" fmla="*/ 66 w 261"/>
                <a:gd name="T43" fmla="*/ 302 h 302"/>
                <a:gd name="T44" fmla="*/ 0 w 261"/>
                <a:gd name="T45" fmla="*/ 302 h 302"/>
                <a:gd name="T46" fmla="*/ 0 w 261"/>
                <a:gd name="T4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1" h="302">
                  <a:moveTo>
                    <a:pt x="133" y="147"/>
                  </a:moveTo>
                  <a:cubicBezTo>
                    <a:pt x="150" y="147"/>
                    <a:pt x="162" y="143"/>
                    <a:pt x="171" y="135"/>
                  </a:cubicBezTo>
                  <a:cubicBezTo>
                    <a:pt x="180" y="127"/>
                    <a:pt x="184" y="117"/>
                    <a:pt x="184" y="104"/>
                  </a:cubicBezTo>
                  <a:lnTo>
                    <a:pt x="184" y="103"/>
                  </a:lnTo>
                  <a:cubicBezTo>
                    <a:pt x="184" y="89"/>
                    <a:pt x="180" y="78"/>
                    <a:pt x="170" y="71"/>
                  </a:cubicBezTo>
                  <a:cubicBezTo>
                    <a:pt x="161" y="64"/>
                    <a:pt x="149" y="60"/>
                    <a:pt x="132" y="60"/>
                  </a:cubicBezTo>
                  <a:lnTo>
                    <a:pt x="66" y="60"/>
                  </a:lnTo>
                  <a:lnTo>
                    <a:pt x="66" y="147"/>
                  </a:lnTo>
                  <a:lnTo>
                    <a:pt x="133" y="147"/>
                  </a:lnTo>
                  <a:close/>
                  <a:moveTo>
                    <a:pt x="0" y="0"/>
                  </a:moveTo>
                  <a:lnTo>
                    <a:pt x="138" y="0"/>
                  </a:lnTo>
                  <a:cubicBezTo>
                    <a:pt x="176" y="0"/>
                    <a:pt x="205" y="10"/>
                    <a:pt x="226" y="31"/>
                  </a:cubicBezTo>
                  <a:cubicBezTo>
                    <a:pt x="243" y="48"/>
                    <a:pt x="251" y="71"/>
                    <a:pt x="251" y="100"/>
                  </a:cubicBezTo>
                  <a:lnTo>
                    <a:pt x="251" y="100"/>
                  </a:lnTo>
                  <a:cubicBezTo>
                    <a:pt x="251" y="125"/>
                    <a:pt x="246" y="145"/>
                    <a:pt x="234" y="160"/>
                  </a:cubicBezTo>
                  <a:cubicBezTo>
                    <a:pt x="222" y="175"/>
                    <a:pt x="206" y="187"/>
                    <a:pt x="187" y="194"/>
                  </a:cubicBezTo>
                  <a:lnTo>
                    <a:pt x="261" y="302"/>
                  </a:lnTo>
                  <a:lnTo>
                    <a:pt x="183" y="302"/>
                  </a:lnTo>
                  <a:lnTo>
                    <a:pt x="118" y="205"/>
                  </a:lnTo>
                  <a:lnTo>
                    <a:pt x="118" y="205"/>
                  </a:lnTo>
                  <a:lnTo>
                    <a:pt x="66" y="205"/>
                  </a:lnTo>
                  <a:lnTo>
                    <a:pt x="66" y="302"/>
                  </a:lnTo>
                  <a:lnTo>
                    <a:pt x="0" y="302"/>
                  </a:lnTo>
                  <a:lnTo>
                    <a:pt x="0" y="0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8" name="Freeform 47">
              <a:extLst>
                <a:ext uri="{FF2B5EF4-FFF2-40B4-BE49-F238E27FC236}">
                  <a16:creationId xmlns:a16="http://schemas.microsoft.com/office/drawing/2014/main" id="{914B1C3D-B64C-46CD-C9F0-3A61F4E41A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4" y="478"/>
              <a:ext cx="28" cy="30"/>
            </a:xfrm>
            <a:custGeom>
              <a:avLst/>
              <a:gdLst>
                <a:gd name="T0" fmla="*/ 163 w 227"/>
                <a:gd name="T1" fmla="*/ 102 h 241"/>
                <a:gd name="T2" fmla="*/ 148 w 227"/>
                <a:gd name="T3" fmla="*/ 67 h 241"/>
                <a:gd name="T4" fmla="*/ 114 w 227"/>
                <a:gd name="T5" fmla="*/ 53 h 241"/>
                <a:gd name="T6" fmla="*/ 81 w 227"/>
                <a:gd name="T7" fmla="*/ 66 h 241"/>
                <a:gd name="T8" fmla="*/ 64 w 227"/>
                <a:gd name="T9" fmla="*/ 102 h 241"/>
                <a:gd name="T10" fmla="*/ 163 w 227"/>
                <a:gd name="T11" fmla="*/ 102 h 241"/>
                <a:gd name="T12" fmla="*/ 121 w 227"/>
                <a:gd name="T13" fmla="*/ 241 h 241"/>
                <a:gd name="T14" fmla="*/ 73 w 227"/>
                <a:gd name="T15" fmla="*/ 232 h 241"/>
                <a:gd name="T16" fmla="*/ 35 w 227"/>
                <a:gd name="T17" fmla="*/ 208 h 241"/>
                <a:gd name="T18" fmla="*/ 9 w 227"/>
                <a:gd name="T19" fmla="*/ 170 h 241"/>
                <a:gd name="T20" fmla="*/ 0 w 227"/>
                <a:gd name="T21" fmla="*/ 121 h 241"/>
                <a:gd name="T22" fmla="*/ 0 w 227"/>
                <a:gd name="T23" fmla="*/ 121 h 241"/>
                <a:gd name="T24" fmla="*/ 9 w 227"/>
                <a:gd name="T25" fmla="*/ 74 h 241"/>
                <a:gd name="T26" fmla="*/ 32 w 227"/>
                <a:gd name="T27" fmla="*/ 36 h 241"/>
                <a:gd name="T28" fmla="*/ 68 w 227"/>
                <a:gd name="T29" fmla="*/ 10 h 241"/>
                <a:gd name="T30" fmla="*/ 114 w 227"/>
                <a:gd name="T31" fmla="*/ 0 h 241"/>
                <a:gd name="T32" fmla="*/ 164 w 227"/>
                <a:gd name="T33" fmla="*/ 11 h 241"/>
                <a:gd name="T34" fmla="*/ 200 w 227"/>
                <a:gd name="T35" fmla="*/ 39 h 241"/>
                <a:gd name="T36" fmla="*/ 220 w 227"/>
                <a:gd name="T37" fmla="*/ 79 h 241"/>
                <a:gd name="T38" fmla="*/ 227 w 227"/>
                <a:gd name="T39" fmla="*/ 126 h 241"/>
                <a:gd name="T40" fmla="*/ 227 w 227"/>
                <a:gd name="T41" fmla="*/ 134 h 241"/>
                <a:gd name="T42" fmla="*/ 226 w 227"/>
                <a:gd name="T43" fmla="*/ 143 h 241"/>
                <a:gd name="T44" fmla="*/ 65 w 227"/>
                <a:gd name="T45" fmla="*/ 143 h 241"/>
                <a:gd name="T46" fmla="*/ 85 w 227"/>
                <a:gd name="T47" fmla="*/ 177 h 241"/>
                <a:gd name="T48" fmla="*/ 122 w 227"/>
                <a:gd name="T49" fmla="*/ 188 h 241"/>
                <a:gd name="T50" fmla="*/ 151 w 227"/>
                <a:gd name="T51" fmla="*/ 183 h 241"/>
                <a:gd name="T52" fmla="*/ 178 w 227"/>
                <a:gd name="T53" fmla="*/ 165 h 241"/>
                <a:gd name="T54" fmla="*/ 215 w 227"/>
                <a:gd name="T55" fmla="*/ 198 h 241"/>
                <a:gd name="T56" fmla="*/ 176 w 227"/>
                <a:gd name="T57" fmla="*/ 229 h 241"/>
                <a:gd name="T58" fmla="*/ 121 w 227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7" h="241">
                  <a:moveTo>
                    <a:pt x="163" y="102"/>
                  </a:moveTo>
                  <a:cubicBezTo>
                    <a:pt x="161" y="87"/>
                    <a:pt x="156" y="76"/>
                    <a:pt x="148" y="67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1" y="53"/>
                    <a:pt x="90" y="57"/>
                    <a:pt x="81" y="66"/>
                  </a:cubicBezTo>
                  <a:cubicBezTo>
                    <a:pt x="73" y="75"/>
                    <a:pt x="67" y="87"/>
                    <a:pt x="64" y="102"/>
                  </a:cubicBezTo>
                  <a:lnTo>
                    <a:pt x="163" y="102"/>
                  </a:lnTo>
                  <a:close/>
                  <a:moveTo>
                    <a:pt x="121" y="241"/>
                  </a:moveTo>
                  <a:cubicBezTo>
                    <a:pt x="104" y="241"/>
                    <a:pt x="88" y="238"/>
                    <a:pt x="73" y="232"/>
                  </a:cubicBezTo>
                  <a:cubicBezTo>
                    <a:pt x="58" y="226"/>
                    <a:pt x="45" y="218"/>
                    <a:pt x="35" y="208"/>
                  </a:cubicBezTo>
                  <a:cubicBezTo>
                    <a:pt x="24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9" y="74"/>
                  </a:cubicBezTo>
                  <a:cubicBezTo>
                    <a:pt x="14" y="59"/>
                    <a:pt x="22" y="47"/>
                    <a:pt x="32" y="36"/>
                  </a:cubicBezTo>
                  <a:cubicBezTo>
                    <a:pt x="42" y="25"/>
                    <a:pt x="54" y="16"/>
                    <a:pt x="68" y="10"/>
                  </a:cubicBezTo>
                  <a:cubicBezTo>
                    <a:pt x="82" y="4"/>
                    <a:pt x="97" y="0"/>
                    <a:pt x="114" y="0"/>
                  </a:cubicBezTo>
                  <a:cubicBezTo>
                    <a:pt x="134" y="0"/>
                    <a:pt x="150" y="4"/>
                    <a:pt x="164" y="11"/>
                  </a:cubicBezTo>
                  <a:cubicBezTo>
                    <a:pt x="178" y="18"/>
                    <a:pt x="190" y="27"/>
                    <a:pt x="200" y="39"/>
                  </a:cubicBezTo>
                  <a:cubicBezTo>
                    <a:pt x="209" y="50"/>
                    <a:pt x="216" y="64"/>
                    <a:pt x="220" y="79"/>
                  </a:cubicBezTo>
                  <a:cubicBezTo>
                    <a:pt x="225" y="94"/>
                    <a:pt x="227" y="109"/>
                    <a:pt x="227" y="126"/>
                  </a:cubicBezTo>
                  <a:cubicBezTo>
                    <a:pt x="227" y="128"/>
                    <a:pt x="227" y="131"/>
                    <a:pt x="227" y="134"/>
                  </a:cubicBezTo>
                  <a:cubicBezTo>
                    <a:pt x="227" y="137"/>
                    <a:pt x="226" y="140"/>
                    <a:pt x="226" y="143"/>
                  </a:cubicBezTo>
                  <a:lnTo>
                    <a:pt x="65" y="143"/>
                  </a:lnTo>
                  <a:cubicBezTo>
                    <a:pt x="68" y="158"/>
                    <a:pt x="75" y="169"/>
                    <a:pt x="85" y="177"/>
                  </a:cubicBezTo>
                  <a:cubicBezTo>
                    <a:pt x="95" y="184"/>
                    <a:pt x="107" y="188"/>
                    <a:pt x="122" y="188"/>
                  </a:cubicBezTo>
                  <a:cubicBezTo>
                    <a:pt x="133" y="188"/>
                    <a:pt x="142" y="186"/>
                    <a:pt x="151" y="183"/>
                  </a:cubicBezTo>
                  <a:cubicBezTo>
                    <a:pt x="160" y="179"/>
                    <a:pt x="169" y="173"/>
                    <a:pt x="178" y="165"/>
                  </a:cubicBezTo>
                  <a:lnTo>
                    <a:pt x="215" y="198"/>
                  </a:lnTo>
                  <a:cubicBezTo>
                    <a:pt x="204" y="211"/>
                    <a:pt x="191" y="222"/>
                    <a:pt x="176" y="229"/>
                  </a:cubicBezTo>
                  <a:cubicBezTo>
                    <a:pt x="160" y="237"/>
                    <a:pt x="142" y="241"/>
                    <a:pt x="121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9" name="Freeform 48">
              <a:extLst>
                <a:ext uri="{FF2B5EF4-FFF2-40B4-BE49-F238E27FC236}">
                  <a16:creationId xmlns:a16="http://schemas.microsoft.com/office/drawing/2014/main" id="{10FD1A5C-B90A-D1D1-23C1-282403FEA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6" y="478"/>
              <a:ext cx="23" cy="30"/>
            </a:xfrm>
            <a:custGeom>
              <a:avLst/>
              <a:gdLst>
                <a:gd name="T0" fmla="*/ 100 w 188"/>
                <a:gd name="T1" fmla="*/ 239 h 239"/>
                <a:gd name="T2" fmla="*/ 49 w 188"/>
                <a:gd name="T3" fmla="*/ 231 h 239"/>
                <a:gd name="T4" fmla="*/ 0 w 188"/>
                <a:gd name="T5" fmla="*/ 204 h 239"/>
                <a:gd name="T6" fmla="*/ 28 w 188"/>
                <a:gd name="T7" fmla="*/ 161 h 239"/>
                <a:gd name="T8" fmla="*/ 66 w 188"/>
                <a:gd name="T9" fmla="*/ 182 h 239"/>
                <a:gd name="T10" fmla="*/ 101 w 188"/>
                <a:gd name="T11" fmla="*/ 189 h 239"/>
                <a:gd name="T12" fmla="*/ 122 w 188"/>
                <a:gd name="T13" fmla="*/ 184 h 239"/>
                <a:gd name="T14" fmla="*/ 129 w 188"/>
                <a:gd name="T15" fmla="*/ 171 h 239"/>
                <a:gd name="T16" fmla="*/ 129 w 188"/>
                <a:gd name="T17" fmla="*/ 170 h 239"/>
                <a:gd name="T18" fmla="*/ 125 w 188"/>
                <a:gd name="T19" fmla="*/ 161 h 239"/>
                <a:gd name="T20" fmla="*/ 114 w 188"/>
                <a:gd name="T21" fmla="*/ 155 h 239"/>
                <a:gd name="T22" fmla="*/ 99 w 188"/>
                <a:gd name="T23" fmla="*/ 149 h 239"/>
                <a:gd name="T24" fmla="*/ 81 w 188"/>
                <a:gd name="T25" fmla="*/ 144 h 239"/>
                <a:gd name="T26" fmla="*/ 57 w 188"/>
                <a:gd name="T27" fmla="*/ 135 h 239"/>
                <a:gd name="T28" fmla="*/ 35 w 188"/>
                <a:gd name="T29" fmla="*/ 122 h 239"/>
                <a:gd name="T30" fmla="*/ 18 w 188"/>
                <a:gd name="T31" fmla="*/ 103 h 239"/>
                <a:gd name="T32" fmla="*/ 12 w 188"/>
                <a:gd name="T33" fmla="*/ 74 h 239"/>
                <a:gd name="T34" fmla="*/ 12 w 188"/>
                <a:gd name="T35" fmla="*/ 73 h 239"/>
                <a:gd name="T36" fmla="*/ 19 w 188"/>
                <a:gd name="T37" fmla="*/ 42 h 239"/>
                <a:gd name="T38" fmla="*/ 37 w 188"/>
                <a:gd name="T39" fmla="*/ 19 h 239"/>
                <a:gd name="T40" fmla="*/ 64 w 188"/>
                <a:gd name="T41" fmla="*/ 5 h 239"/>
                <a:gd name="T42" fmla="*/ 97 w 188"/>
                <a:gd name="T43" fmla="*/ 0 h 239"/>
                <a:gd name="T44" fmla="*/ 141 w 188"/>
                <a:gd name="T45" fmla="*/ 7 h 239"/>
                <a:gd name="T46" fmla="*/ 183 w 188"/>
                <a:gd name="T47" fmla="*/ 27 h 239"/>
                <a:gd name="T48" fmla="*/ 158 w 188"/>
                <a:gd name="T49" fmla="*/ 72 h 239"/>
                <a:gd name="T50" fmla="*/ 124 w 188"/>
                <a:gd name="T51" fmla="*/ 56 h 239"/>
                <a:gd name="T52" fmla="*/ 95 w 188"/>
                <a:gd name="T53" fmla="*/ 51 h 239"/>
                <a:gd name="T54" fmla="*/ 77 w 188"/>
                <a:gd name="T55" fmla="*/ 55 h 239"/>
                <a:gd name="T56" fmla="*/ 71 w 188"/>
                <a:gd name="T57" fmla="*/ 67 h 239"/>
                <a:gd name="T58" fmla="*/ 71 w 188"/>
                <a:gd name="T59" fmla="*/ 67 h 239"/>
                <a:gd name="T60" fmla="*/ 75 w 188"/>
                <a:gd name="T61" fmla="*/ 76 h 239"/>
                <a:gd name="T62" fmla="*/ 85 w 188"/>
                <a:gd name="T63" fmla="*/ 83 h 239"/>
                <a:gd name="T64" fmla="*/ 100 w 188"/>
                <a:gd name="T65" fmla="*/ 89 h 239"/>
                <a:gd name="T66" fmla="*/ 118 w 188"/>
                <a:gd name="T67" fmla="*/ 95 h 239"/>
                <a:gd name="T68" fmla="*/ 143 w 188"/>
                <a:gd name="T69" fmla="*/ 104 h 239"/>
                <a:gd name="T70" fmla="*/ 165 w 188"/>
                <a:gd name="T71" fmla="*/ 117 h 239"/>
                <a:gd name="T72" fmla="*/ 181 w 188"/>
                <a:gd name="T73" fmla="*/ 136 h 239"/>
                <a:gd name="T74" fmla="*/ 188 w 188"/>
                <a:gd name="T75" fmla="*/ 164 h 239"/>
                <a:gd name="T76" fmla="*/ 188 w 188"/>
                <a:gd name="T77" fmla="*/ 164 h 239"/>
                <a:gd name="T78" fmla="*/ 181 w 188"/>
                <a:gd name="T79" fmla="*/ 198 h 239"/>
                <a:gd name="T80" fmla="*/ 162 w 188"/>
                <a:gd name="T81" fmla="*/ 221 h 239"/>
                <a:gd name="T82" fmla="*/ 134 w 188"/>
                <a:gd name="T83" fmla="*/ 234 h 239"/>
                <a:gd name="T84" fmla="*/ 100 w 188"/>
                <a:gd name="T85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8" h="239">
                  <a:moveTo>
                    <a:pt x="100" y="239"/>
                  </a:moveTo>
                  <a:cubicBezTo>
                    <a:pt x="83" y="239"/>
                    <a:pt x="66" y="236"/>
                    <a:pt x="49" y="231"/>
                  </a:cubicBezTo>
                  <a:cubicBezTo>
                    <a:pt x="32" y="225"/>
                    <a:pt x="16" y="216"/>
                    <a:pt x="0" y="204"/>
                  </a:cubicBezTo>
                  <a:lnTo>
                    <a:pt x="28" y="161"/>
                  </a:lnTo>
                  <a:cubicBezTo>
                    <a:pt x="41" y="170"/>
                    <a:pt x="54" y="177"/>
                    <a:pt x="66" y="182"/>
                  </a:cubicBezTo>
                  <a:cubicBezTo>
                    <a:pt x="79" y="186"/>
                    <a:pt x="90" y="189"/>
                    <a:pt x="101" y="189"/>
                  </a:cubicBezTo>
                  <a:cubicBezTo>
                    <a:pt x="111" y="189"/>
                    <a:pt x="118" y="187"/>
                    <a:pt x="122" y="184"/>
                  </a:cubicBezTo>
                  <a:cubicBezTo>
                    <a:pt x="127" y="181"/>
                    <a:pt x="129" y="176"/>
                    <a:pt x="129" y="171"/>
                  </a:cubicBezTo>
                  <a:lnTo>
                    <a:pt x="129" y="170"/>
                  </a:lnTo>
                  <a:cubicBezTo>
                    <a:pt x="129" y="167"/>
                    <a:pt x="128" y="164"/>
                    <a:pt x="125" y="161"/>
                  </a:cubicBezTo>
                  <a:cubicBezTo>
                    <a:pt x="122" y="159"/>
                    <a:pt x="119" y="157"/>
                    <a:pt x="114" y="155"/>
                  </a:cubicBezTo>
                  <a:cubicBezTo>
                    <a:pt x="110" y="153"/>
                    <a:pt x="105" y="151"/>
                    <a:pt x="99" y="149"/>
                  </a:cubicBezTo>
                  <a:cubicBezTo>
                    <a:pt x="93" y="148"/>
                    <a:pt x="87" y="146"/>
                    <a:pt x="81" y="144"/>
                  </a:cubicBezTo>
                  <a:cubicBezTo>
                    <a:pt x="73" y="141"/>
                    <a:pt x="65" y="139"/>
                    <a:pt x="57" y="135"/>
                  </a:cubicBezTo>
                  <a:cubicBezTo>
                    <a:pt x="48" y="132"/>
                    <a:pt x="41" y="128"/>
                    <a:pt x="35" y="122"/>
                  </a:cubicBezTo>
                  <a:cubicBezTo>
                    <a:pt x="28" y="117"/>
                    <a:pt x="22" y="111"/>
                    <a:pt x="18" y="103"/>
                  </a:cubicBezTo>
                  <a:cubicBezTo>
                    <a:pt x="14" y="95"/>
                    <a:pt x="12" y="86"/>
                    <a:pt x="12" y="74"/>
                  </a:cubicBezTo>
                  <a:lnTo>
                    <a:pt x="12" y="73"/>
                  </a:lnTo>
                  <a:cubicBezTo>
                    <a:pt x="12" y="62"/>
                    <a:pt x="14" y="51"/>
                    <a:pt x="19" y="42"/>
                  </a:cubicBezTo>
                  <a:cubicBezTo>
                    <a:pt x="23" y="33"/>
                    <a:pt x="29" y="26"/>
                    <a:pt x="37" y="19"/>
                  </a:cubicBezTo>
                  <a:cubicBezTo>
                    <a:pt x="44" y="13"/>
                    <a:pt x="53" y="8"/>
                    <a:pt x="64" y="5"/>
                  </a:cubicBezTo>
                  <a:cubicBezTo>
                    <a:pt x="74" y="2"/>
                    <a:pt x="85" y="0"/>
                    <a:pt x="97" y="0"/>
                  </a:cubicBezTo>
                  <a:cubicBezTo>
                    <a:pt x="111" y="0"/>
                    <a:pt x="126" y="3"/>
                    <a:pt x="141" y="7"/>
                  </a:cubicBezTo>
                  <a:cubicBezTo>
                    <a:pt x="156" y="12"/>
                    <a:pt x="170" y="19"/>
                    <a:pt x="183" y="27"/>
                  </a:cubicBezTo>
                  <a:lnTo>
                    <a:pt x="158" y="72"/>
                  </a:lnTo>
                  <a:cubicBezTo>
                    <a:pt x="146" y="66"/>
                    <a:pt x="135" y="60"/>
                    <a:pt x="124" y="56"/>
                  </a:cubicBezTo>
                  <a:cubicBezTo>
                    <a:pt x="113" y="53"/>
                    <a:pt x="104" y="51"/>
                    <a:pt x="95" y="51"/>
                  </a:cubicBezTo>
                  <a:cubicBezTo>
                    <a:pt x="87" y="51"/>
                    <a:pt x="81" y="52"/>
                    <a:pt x="77" y="55"/>
                  </a:cubicBezTo>
                  <a:cubicBezTo>
                    <a:pt x="73" y="58"/>
                    <a:pt x="71" y="62"/>
                    <a:pt x="71" y="67"/>
                  </a:cubicBezTo>
                  <a:lnTo>
                    <a:pt x="71" y="67"/>
                  </a:lnTo>
                  <a:cubicBezTo>
                    <a:pt x="71" y="71"/>
                    <a:pt x="72" y="73"/>
                    <a:pt x="75" y="76"/>
                  </a:cubicBezTo>
                  <a:cubicBezTo>
                    <a:pt x="78" y="78"/>
                    <a:pt x="81" y="81"/>
                    <a:pt x="85" y="83"/>
                  </a:cubicBezTo>
                  <a:cubicBezTo>
                    <a:pt x="90" y="85"/>
                    <a:pt x="95" y="87"/>
                    <a:pt x="100" y="89"/>
                  </a:cubicBezTo>
                  <a:cubicBezTo>
                    <a:pt x="106" y="91"/>
                    <a:pt x="112" y="93"/>
                    <a:pt x="118" y="95"/>
                  </a:cubicBezTo>
                  <a:cubicBezTo>
                    <a:pt x="126" y="98"/>
                    <a:pt x="134" y="101"/>
                    <a:pt x="143" y="104"/>
                  </a:cubicBezTo>
                  <a:cubicBezTo>
                    <a:pt x="151" y="108"/>
                    <a:pt x="158" y="112"/>
                    <a:pt x="165" y="117"/>
                  </a:cubicBezTo>
                  <a:cubicBezTo>
                    <a:pt x="172" y="123"/>
                    <a:pt x="177" y="129"/>
                    <a:pt x="181" y="136"/>
                  </a:cubicBezTo>
                  <a:cubicBezTo>
                    <a:pt x="186" y="144"/>
                    <a:pt x="188" y="153"/>
                    <a:pt x="188" y="164"/>
                  </a:cubicBezTo>
                  <a:lnTo>
                    <a:pt x="188" y="164"/>
                  </a:lnTo>
                  <a:cubicBezTo>
                    <a:pt x="188" y="177"/>
                    <a:pt x="186" y="188"/>
                    <a:pt x="181" y="198"/>
                  </a:cubicBezTo>
                  <a:cubicBezTo>
                    <a:pt x="177" y="207"/>
                    <a:pt x="170" y="215"/>
                    <a:pt x="162" y="221"/>
                  </a:cubicBezTo>
                  <a:cubicBezTo>
                    <a:pt x="154" y="227"/>
                    <a:pt x="145" y="231"/>
                    <a:pt x="134" y="234"/>
                  </a:cubicBezTo>
                  <a:cubicBezTo>
                    <a:pt x="123" y="237"/>
                    <a:pt x="112" y="239"/>
                    <a:pt x="100" y="239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0" name="Freeform 49">
              <a:extLst>
                <a:ext uri="{FF2B5EF4-FFF2-40B4-BE49-F238E27FC236}">
                  <a16:creationId xmlns:a16="http://schemas.microsoft.com/office/drawing/2014/main" id="{C716EE04-4EDE-4D70-5B81-C0BD394280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5" y="468"/>
              <a:ext cx="9" cy="40"/>
            </a:xfrm>
            <a:custGeom>
              <a:avLst/>
              <a:gdLst>
                <a:gd name="T0" fmla="*/ 2 w 69"/>
                <a:gd name="T1" fmla="*/ 84 h 315"/>
                <a:gd name="T2" fmla="*/ 67 w 69"/>
                <a:gd name="T3" fmla="*/ 84 h 315"/>
                <a:gd name="T4" fmla="*/ 67 w 69"/>
                <a:gd name="T5" fmla="*/ 315 h 315"/>
                <a:gd name="T6" fmla="*/ 2 w 69"/>
                <a:gd name="T7" fmla="*/ 315 h 315"/>
                <a:gd name="T8" fmla="*/ 2 w 69"/>
                <a:gd name="T9" fmla="*/ 84 h 315"/>
                <a:gd name="T10" fmla="*/ 0 w 69"/>
                <a:gd name="T11" fmla="*/ 0 h 315"/>
                <a:gd name="T12" fmla="*/ 69 w 69"/>
                <a:gd name="T13" fmla="*/ 0 h 315"/>
                <a:gd name="T14" fmla="*/ 69 w 69"/>
                <a:gd name="T15" fmla="*/ 58 h 315"/>
                <a:gd name="T16" fmla="*/ 0 w 69"/>
                <a:gd name="T17" fmla="*/ 58 h 315"/>
                <a:gd name="T18" fmla="*/ 0 w 69"/>
                <a:gd name="T1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315">
                  <a:moveTo>
                    <a:pt x="2" y="84"/>
                  </a:moveTo>
                  <a:lnTo>
                    <a:pt x="67" y="84"/>
                  </a:lnTo>
                  <a:lnTo>
                    <a:pt x="67" y="315"/>
                  </a:lnTo>
                  <a:lnTo>
                    <a:pt x="2" y="315"/>
                  </a:lnTo>
                  <a:lnTo>
                    <a:pt x="2" y="84"/>
                  </a:lnTo>
                  <a:close/>
                  <a:moveTo>
                    <a:pt x="0" y="0"/>
                  </a:moveTo>
                  <a:lnTo>
                    <a:pt x="69" y="0"/>
                  </a:lnTo>
                  <a:lnTo>
                    <a:pt x="69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1" name="Rectangle 50">
              <a:extLst>
                <a:ext uri="{FF2B5EF4-FFF2-40B4-BE49-F238E27FC236}">
                  <a16:creationId xmlns:a16="http://schemas.microsoft.com/office/drawing/2014/main" id="{56306BF1-EE49-E628-43BF-932BAB4E58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1" y="468"/>
              <a:ext cx="8" cy="40"/>
            </a:xfrm>
            <a:prstGeom prst="rect">
              <a:avLst/>
            </a:pr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2" name="Freeform 51">
              <a:extLst>
                <a:ext uri="{FF2B5EF4-FFF2-40B4-BE49-F238E27FC236}">
                  <a16:creationId xmlns:a16="http://schemas.microsoft.com/office/drawing/2014/main" id="{D91D0BE9-E01C-E316-663C-5821CB568A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7" y="468"/>
              <a:ext cx="9" cy="40"/>
            </a:xfrm>
            <a:custGeom>
              <a:avLst/>
              <a:gdLst>
                <a:gd name="T0" fmla="*/ 2 w 69"/>
                <a:gd name="T1" fmla="*/ 84 h 315"/>
                <a:gd name="T2" fmla="*/ 68 w 69"/>
                <a:gd name="T3" fmla="*/ 84 h 315"/>
                <a:gd name="T4" fmla="*/ 68 w 69"/>
                <a:gd name="T5" fmla="*/ 315 h 315"/>
                <a:gd name="T6" fmla="*/ 2 w 69"/>
                <a:gd name="T7" fmla="*/ 315 h 315"/>
                <a:gd name="T8" fmla="*/ 2 w 69"/>
                <a:gd name="T9" fmla="*/ 84 h 315"/>
                <a:gd name="T10" fmla="*/ 0 w 69"/>
                <a:gd name="T11" fmla="*/ 0 h 315"/>
                <a:gd name="T12" fmla="*/ 69 w 69"/>
                <a:gd name="T13" fmla="*/ 0 h 315"/>
                <a:gd name="T14" fmla="*/ 69 w 69"/>
                <a:gd name="T15" fmla="*/ 58 h 315"/>
                <a:gd name="T16" fmla="*/ 0 w 69"/>
                <a:gd name="T17" fmla="*/ 58 h 315"/>
                <a:gd name="T18" fmla="*/ 0 w 69"/>
                <a:gd name="T1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315">
                  <a:moveTo>
                    <a:pt x="2" y="84"/>
                  </a:moveTo>
                  <a:lnTo>
                    <a:pt x="68" y="84"/>
                  </a:lnTo>
                  <a:lnTo>
                    <a:pt x="68" y="315"/>
                  </a:lnTo>
                  <a:lnTo>
                    <a:pt x="2" y="315"/>
                  </a:lnTo>
                  <a:lnTo>
                    <a:pt x="2" y="84"/>
                  </a:lnTo>
                  <a:close/>
                  <a:moveTo>
                    <a:pt x="0" y="0"/>
                  </a:moveTo>
                  <a:lnTo>
                    <a:pt x="69" y="0"/>
                  </a:lnTo>
                  <a:lnTo>
                    <a:pt x="69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3" name="Freeform 52">
              <a:extLst>
                <a:ext uri="{FF2B5EF4-FFF2-40B4-BE49-F238E27FC236}">
                  <a16:creationId xmlns:a16="http://schemas.microsoft.com/office/drawing/2014/main" id="{CC76AADF-6FFE-436B-58FB-42E7345FC7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2" y="478"/>
              <a:ext cx="28" cy="30"/>
            </a:xfrm>
            <a:custGeom>
              <a:avLst/>
              <a:gdLst>
                <a:gd name="T0" fmla="*/ 163 w 227"/>
                <a:gd name="T1" fmla="*/ 102 h 241"/>
                <a:gd name="T2" fmla="*/ 147 w 227"/>
                <a:gd name="T3" fmla="*/ 67 h 241"/>
                <a:gd name="T4" fmla="*/ 114 w 227"/>
                <a:gd name="T5" fmla="*/ 53 h 241"/>
                <a:gd name="T6" fmla="*/ 81 w 227"/>
                <a:gd name="T7" fmla="*/ 66 h 241"/>
                <a:gd name="T8" fmla="*/ 64 w 227"/>
                <a:gd name="T9" fmla="*/ 102 h 241"/>
                <a:gd name="T10" fmla="*/ 163 w 227"/>
                <a:gd name="T11" fmla="*/ 102 h 241"/>
                <a:gd name="T12" fmla="*/ 121 w 227"/>
                <a:gd name="T13" fmla="*/ 241 h 241"/>
                <a:gd name="T14" fmla="*/ 73 w 227"/>
                <a:gd name="T15" fmla="*/ 232 h 241"/>
                <a:gd name="T16" fmla="*/ 34 w 227"/>
                <a:gd name="T17" fmla="*/ 208 h 241"/>
                <a:gd name="T18" fmla="*/ 9 w 227"/>
                <a:gd name="T19" fmla="*/ 170 h 241"/>
                <a:gd name="T20" fmla="*/ 0 w 227"/>
                <a:gd name="T21" fmla="*/ 121 h 241"/>
                <a:gd name="T22" fmla="*/ 0 w 227"/>
                <a:gd name="T23" fmla="*/ 121 h 241"/>
                <a:gd name="T24" fmla="*/ 8 w 227"/>
                <a:gd name="T25" fmla="*/ 74 h 241"/>
                <a:gd name="T26" fmla="*/ 32 w 227"/>
                <a:gd name="T27" fmla="*/ 36 h 241"/>
                <a:gd name="T28" fmla="*/ 68 w 227"/>
                <a:gd name="T29" fmla="*/ 10 h 241"/>
                <a:gd name="T30" fmla="*/ 114 w 227"/>
                <a:gd name="T31" fmla="*/ 0 h 241"/>
                <a:gd name="T32" fmla="*/ 164 w 227"/>
                <a:gd name="T33" fmla="*/ 11 h 241"/>
                <a:gd name="T34" fmla="*/ 199 w 227"/>
                <a:gd name="T35" fmla="*/ 39 h 241"/>
                <a:gd name="T36" fmla="*/ 220 w 227"/>
                <a:gd name="T37" fmla="*/ 79 h 241"/>
                <a:gd name="T38" fmla="*/ 227 w 227"/>
                <a:gd name="T39" fmla="*/ 126 h 241"/>
                <a:gd name="T40" fmla="*/ 226 w 227"/>
                <a:gd name="T41" fmla="*/ 134 h 241"/>
                <a:gd name="T42" fmla="*/ 226 w 227"/>
                <a:gd name="T43" fmla="*/ 143 h 241"/>
                <a:gd name="T44" fmla="*/ 65 w 227"/>
                <a:gd name="T45" fmla="*/ 143 h 241"/>
                <a:gd name="T46" fmla="*/ 85 w 227"/>
                <a:gd name="T47" fmla="*/ 177 h 241"/>
                <a:gd name="T48" fmla="*/ 121 w 227"/>
                <a:gd name="T49" fmla="*/ 188 h 241"/>
                <a:gd name="T50" fmla="*/ 151 w 227"/>
                <a:gd name="T51" fmla="*/ 183 h 241"/>
                <a:gd name="T52" fmla="*/ 177 w 227"/>
                <a:gd name="T53" fmla="*/ 165 h 241"/>
                <a:gd name="T54" fmla="*/ 215 w 227"/>
                <a:gd name="T55" fmla="*/ 198 h 241"/>
                <a:gd name="T56" fmla="*/ 175 w 227"/>
                <a:gd name="T57" fmla="*/ 229 h 241"/>
                <a:gd name="T58" fmla="*/ 121 w 227"/>
                <a:gd name="T5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7" h="241">
                  <a:moveTo>
                    <a:pt x="163" y="102"/>
                  </a:moveTo>
                  <a:cubicBezTo>
                    <a:pt x="161" y="87"/>
                    <a:pt x="156" y="76"/>
                    <a:pt x="147" y="67"/>
                  </a:cubicBezTo>
                  <a:cubicBezTo>
                    <a:pt x="139" y="57"/>
                    <a:pt x="128" y="53"/>
                    <a:pt x="114" y="53"/>
                  </a:cubicBezTo>
                  <a:cubicBezTo>
                    <a:pt x="100" y="53"/>
                    <a:pt x="89" y="57"/>
                    <a:pt x="81" y="66"/>
                  </a:cubicBezTo>
                  <a:cubicBezTo>
                    <a:pt x="72" y="75"/>
                    <a:pt x="67" y="87"/>
                    <a:pt x="64" y="102"/>
                  </a:cubicBezTo>
                  <a:lnTo>
                    <a:pt x="163" y="102"/>
                  </a:lnTo>
                  <a:close/>
                  <a:moveTo>
                    <a:pt x="121" y="241"/>
                  </a:moveTo>
                  <a:cubicBezTo>
                    <a:pt x="103" y="241"/>
                    <a:pt x="87" y="238"/>
                    <a:pt x="73" y="232"/>
                  </a:cubicBezTo>
                  <a:cubicBezTo>
                    <a:pt x="58" y="226"/>
                    <a:pt x="45" y="218"/>
                    <a:pt x="34" y="208"/>
                  </a:cubicBezTo>
                  <a:cubicBezTo>
                    <a:pt x="23" y="197"/>
                    <a:pt x="15" y="184"/>
                    <a:pt x="9" y="170"/>
                  </a:cubicBezTo>
                  <a:cubicBezTo>
                    <a:pt x="3" y="155"/>
                    <a:pt x="0" y="139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8" y="74"/>
                  </a:cubicBezTo>
                  <a:cubicBezTo>
                    <a:pt x="14" y="59"/>
                    <a:pt x="22" y="47"/>
                    <a:pt x="32" y="36"/>
                  </a:cubicBezTo>
                  <a:cubicBezTo>
                    <a:pt x="42" y="25"/>
                    <a:pt x="54" y="16"/>
                    <a:pt x="68" y="10"/>
                  </a:cubicBezTo>
                  <a:cubicBezTo>
                    <a:pt x="82" y="4"/>
                    <a:pt x="97" y="0"/>
                    <a:pt x="114" y="0"/>
                  </a:cubicBezTo>
                  <a:cubicBezTo>
                    <a:pt x="133" y="0"/>
                    <a:pt x="150" y="4"/>
                    <a:pt x="164" y="11"/>
                  </a:cubicBezTo>
                  <a:cubicBezTo>
                    <a:pt x="178" y="18"/>
                    <a:pt x="190" y="27"/>
                    <a:pt x="199" y="39"/>
                  </a:cubicBezTo>
                  <a:cubicBezTo>
                    <a:pt x="209" y="50"/>
                    <a:pt x="215" y="64"/>
                    <a:pt x="220" y="79"/>
                  </a:cubicBezTo>
                  <a:cubicBezTo>
                    <a:pt x="224" y="94"/>
                    <a:pt x="227" y="109"/>
                    <a:pt x="227" y="126"/>
                  </a:cubicBezTo>
                  <a:cubicBezTo>
                    <a:pt x="227" y="128"/>
                    <a:pt x="226" y="131"/>
                    <a:pt x="226" y="134"/>
                  </a:cubicBezTo>
                  <a:cubicBezTo>
                    <a:pt x="226" y="137"/>
                    <a:pt x="226" y="140"/>
                    <a:pt x="226" y="143"/>
                  </a:cubicBezTo>
                  <a:lnTo>
                    <a:pt x="65" y="143"/>
                  </a:lnTo>
                  <a:cubicBezTo>
                    <a:pt x="68" y="158"/>
                    <a:pt x="75" y="169"/>
                    <a:pt x="85" y="177"/>
                  </a:cubicBezTo>
                  <a:cubicBezTo>
                    <a:pt x="94" y="184"/>
                    <a:pt x="107" y="188"/>
                    <a:pt x="121" y="188"/>
                  </a:cubicBezTo>
                  <a:cubicBezTo>
                    <a:pt x="132" y="188"/>
                    <a:pt x="142" y="186"/>
                    <a:pt x="151" y="183"/>
                  </a:cubicBezTo>
                  <a:cubicBezTo>
                    <a:pt x="159" y="179"/>
                    <a:pt x="168" y="173"/>
                    <a:pt x="177" y="165"/>
                  </a:cubicBezTo>
                  <a:lnTo>
                    <a:pt x="215" y="198"/>
                  </a:lnTo>
                  <a:cubicBezTo>
                    <a:pt x="204" y="211"/>
                    <a:pt x="191" y="222"/>
                    <a:pt x="175" y="229"/>
                  </a:cubicBezTo>
                  <a:cubicBezTo>
                    <a:pt x="160" y="237"/>
                    <a:pt x="142" y="241"/>
                    <a:pt x="121" y="241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4" name="Freeform 53">
              <a:extLst>
                <a:ext uri="{FF2B5EF4-FFF2-40B4-BE49-F238E27FC236}">
                  <a16:creationId xmlns:a16="http://schemas.microsoft.com/office/drawing/2014/main" id="{681E0052-98C3-F989-D40C-5E400E314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" y="478"/>
              <a:ext cx="26" cy="30"/>
            </a:xfrm>
            <a:custGeom>
              <a:avLst/>
              <a:gdLst>
                <a:gd name="T0" fmla="*/ 0 w 212"/>
                <a:gd name="T1" fmla="*/ 5 h 236"/>
                <a:gd name="T2" fmla="*/ 66 w 212"/>
                <a:gd name="T3" fmla="*/ 5 h 236"/>
                <a:gd name="T4" fmla="*/ 66 w 212"/>
                <a:gd name="T5" fmla="*/ 38 h 236"/>
                <a:gd name="T6" fmla="*/ 78 w 212"/>
                <a:gd name="T7" fmla="*/ 24 h 236"/>
                <a:gd name="T8" fmla="*/ 93 w 212"/>
                <a:gd name="T9" fmla="*/ 12 h 236"/>
                <a:gd name="T10" fmla="*/ 111 w 212"/>
                <a:gd name="T11" fmla="*/ 3 h 236"/>
                <a:gd name="T12" fmla="*/ 133 w 212"/>
                <a:gd name="T13" fmla="*/ 0 h 236"/>
                <a:gd name="T14" fmla="*/ 191 w 212"/>
                <a:gd name="T15" fmla="*/ 23 h 236"/>
                <a:gd name="T16" fmla="*/ 212 w 212"/>
                <a:gd name="T17" fmla="*/ 86 h 236"/>
                <a:gd name="T18" fmla="*/ 212 w 212"/>
                <a:gd name="T19" fmla="*/ 236 h 236"/>
                <a:gd name="T20" fmla="*/ 146 w 212"/>
                <a:gd name="T21" fmla="*/ 236 h 236"/>
                <a:gd name="T22" fmla="*/ 146 w 212"/>
                <a:gd name="T23" fmla="*/ 107 h 236"/>
                <a:gd name="T24" fmla="*/ 136 w 212"/>
                <a:gd name="T25" fmla="*/ 72 h 236"/>
                <a:gd name="T26" fmla="*/ 107 w 212"/>
                <a:gd name="T27" fmla="*/ 60 h 236"/>
                <a:gd name="T28" fmla="*/ 77 w 212"/>
                <a:gd name="T29" fmla="*/ 72 h 236"/>
                <a:gd name="T30" fmla="*/ 66 w 212"/>
                <a:gd name="T31" fmla="*/ 107 h 236"/>
                <a:gd name="T32" fmla="*/ 66 w 212"/>
                <a:gd name="T33" fmla="*/ 236 h 236"/>
                <a:gd name="T34" fmla="*/ 0 w 212"/>
                <a:gd name="T35" fmla="*/ 236 h 236"/>
                <a:gd name="T36" fmla="*/ 0 w 212"/>
                <a:gd name="T37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2" h="236">
                  <a:moveTo>
                    <a:pt x="0" y="5"/>
                  </a:moveTo>
                  <a:lnTo>
                    <a:pt x="66" y="5"/>
                  </a:lnTo>
                  <a:lnTo>
                    <a:pt x="66" y="38"/>
                  </a:lnTo>
                  <a:cubicBezTo>
                    <a:pt x="69" y="33"/>
                    <a:pt x="74" y="28"/>
                    <a:pt x="78" y="24"/>
                  </a:cubicBezTo>
                  <a:cubicBezTo>
                    <a:pt x="82" y="19"/>
                    <a:pt x="87" y="15"/>
                    <a:pt x="93" y="12"/>
                  </a:cubicBezTo>
                  <a:cubicBezTo>
                    <a:pt x="98" y="8"/>
                    <a:pt x="104" y="5"/>
                    <a:pt x="111" y="3"/>
                  </a:cubicBezTo>
                  <a:cubicBezTo>
                    <a:pt x="118" y="1"/>
                    <a:pt x="125" y="0"/>
                    <a:pt x="133" y="0"/>
                  </a:cubicBezTo>
                  <a:cubicBezTo>
                    <a:pt x="158" y="0"/>
                    <a:pt x="178" y="8"/>
                    <a:pt x="191" y="23"/>
                  </a:cubicBezTo>
                  <a:cubicBezTo>
                    <a:pt x="205" y="38"/>
                    <a:pt x="212" y="59"/>
                    <a:pt x="212" y="86"/>
                  </a:cubicBezTo>
                  <a:lnTo>
                    <a:pt x="212" y="236"/>
                  </a:lnTo>
                  <a:lnTo>
                    <a:pt x="146" y="236"/>
                  </a:lnTo>
                  <a:lnTo>
                    <a:pt x="146" y="107"/>
                  </a:lnTo>
                  <a:cubicBezTo>
                    <a:pt x="146" y="92"/>
                    <a:pt x="143" y="80"/>
                    <a:pt x="136" y="72"/>
                  </a:cubicBezTo>
                  <a:cubicBezTo>
                    <a:pt x="129" y="64"/>
                    <a:pt x="119" y="60"/>
                    <a:pt x="107" y="60"/>
                  </a:cubicBezTo>
                  <a:cubicBezTo>
                    <a:pt x="94" y="60"/>
                    <a:pt x="84" y="64"/>
                    <a:pt x="77" y="72"/>
                  </a:cubicBezTo>
                  <a:cubicBezTo>
                    <a:pt x="69" y="80"/>
                    <a:pt x="66" y="92"/>
                    <a:pt x="66" y="107"/>
                  </a:cubicBezTo>
                  <a:lnTo>
                    <a:pt x="66" y="236"/>
                  </a:lnTo>
                  <a:lnTo>
                    <a:pt x="0" y="236"/>
                  </a:lnTo>
                  <a:lnTo>
                    <a:pt x="0" y="5"/>
                  </a:ln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5" name="Freeform 54">
              <a:extLst>
                <a:ext uri="{FF2B5EF4-FFF2-40B4-BE49-F238E27FC236}">
                  <a16:creationId xmlns:a16="http://schemas.microsoft.com/office/drawing/2014/main" id="{25422CD1-E03B-4D8E-DB25-1A361D5CFC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8" y="478"/>
              <a:ext cx="26" cy="30"/>
            </a:xfrm>
            <a:custGeom>
              <a:avLst/>
              <a:gdLst>
                <a:gd name="T0" fmla="*/ 121 w 215"/>
                <a:gd name="T1" fmla="*/ 241 h 241"/>
                <a:gd name="T2" fmla="*/ 73 w 215"/>
                <a:gd name="T3" fmla="*/ 231 h 241"/>
                <a:gd name="T4" fmla="*/ 34 w 215"/>
                <a:gd name="T5" fmla="*/ 206 h 241"/>
                <a:gd name="T6" fmla="*/ 9 w 215"/>
                <a:gd name="T7" fmla="*/ 168 h 241"/>
                <a:gd name="T8" fmla="*/ 0 w 215"/>
                <a:gd name="T9" fmla="*/ 121 h 241"/>
                <a:gd name="T10" fmla="*/ 0 w 215"/>
                <a:gd name="T11" fmla="*/ 121 h 241"/>
                <a:gd name="T12" fmla="*/ 9 w 215"/>
                <a:gd name="T13" fmla="*/ 74 h 241"/>
                <a:gd name="T14" fmla="*/ 34 w 215"/>
                <a:gd name="T15" fmla="*/ 36 h 241"/>
                <a:gd name="T16" fmla="*/ 73 w 215"/>
                <a:gd name="T17" fmla="*/ 10 h 241"/>
                <a:gd name="T18" fmla="*/ 121 w 215"/>
                <a:gd name="T19" fmla="*/ 0 h 241"/>
                <a:gd name="T20" fmla="*/ 176 w 215"/>
                <a:gd name="T21" fmla="*/ 11 h 241"/>
                <a:gd name="T22" fmla="*/ 214 w 215"/>
                <a:gd name="T23" fmla="*/ 39 h 241"/>
                <a:gd name="T24" fmla="*/ 174 w 215"/>
                <a:gd name="T25" fmla="*/ 82 h 241"/>
                <a:gd name="T26" fmla="*/ 151 w 215"/>
                <a:gd name="T27" fmla="*/ 64 h 241"/>
                <a:gd name="T28" fmla="*/ 121 w 215"/>
                <a:gd name="T29" fmla="*/ 57 h 241"/>
                <a:gd name="T30" fmla="*/ 98 w 215"/>
                <a:gd name="T31" fmla="*/ 62 h 241"/>
                <a:gd name="T32" fmla="*/ 81 w 215"/>
                <a:gd name="T33" fmla="*/ 75 h 241"/>
                <a:gd name="T34" fmla="*/ 69 w 215"/>
                <a:gd name="T35" fmla="*/ 95 h 241"/>
                <a:gd name="T36" fmla="*/ 65 w 215"/>
                <a:gd name="T37" fmla="*/ 120 h 241"/>
                <a:gd name="T38" fmla="*/ 65 w 215"/>
                <a:gd name="T39" fmla="*/ 121 h 241"/>
                <a:gd name="T40" fmla="*/ 69 w 215"/>
                <a:gd name="T41" fmla="*/ 146 h 241"/>
                <a:gd name="T42" fmla="*/ 81 w 215"/>
                <a:gd name="T43" fmla="*/ 166 h 241"/>
                <a:gd name="T44" fmla="*/ 99 w 215"/>
                <a:gd name="T45" fmla="*/ 179 h 241"/>
                <a:gd name="T46" fmla="*/ 124 w 215"/>
                <a:gd name="T47" fmla="*/ 184 h 241"/>
                <a:gd name="T48" fmla="*/ 152 w 215"/>
                <a:gd name="T49" fmla="*/ 178 h 241"/>
                <a:gd name="T50" fmla="*/ 177 w 215"/>
                <a:gd name="T51" fmla="*/ 160 h 241"/>
                <a:gd name="T52" fmla="*/ 215 w 215"/>
                <a:gd name="T53" fmla="*/ 199 h 241"/>
                <a:gd name="T54" fmla="*/ 177 w 215"/>
                <a:gd name="T55" fmla="*/ 229 h 241"/>
                <a:gd name="T56" fmla="*/ 121 w 215"/>
                <a:gd name="T5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5" h="241">
                  <a:moveTo>
                    <a:pt x="121" y="241"/>
                  </a:moveTo>
                  <a:cubicBezTo>
                    <a:pt x="103" y="241"/>
                    <a:pt x="87" y="238"/>
                    <a:pt x="73" y="231"/>
                  </a:cubicBezTo>
                  <a:cubicBezTo>
                    <a:pt x="58" y="225"/>
                    <a:pt x="45" y="216"/>
                    <a:pt x="34" y="206"/>
                  </a:cubicBezTo>
                  <a:cubicBezTo>
                    <a:pt x="24" y="195"/>
                    <a:pt x="15" y="182"/>
                    <a:pt x="9" y="168"/>
                  </a:cubicBezTo>
                  <a:cubicBezTo>
                    <a:pt x="3" y="153"/>
                    <a:pt x="0" y="138"/>
                    <a:pt x="0" y="121"/>
                  </a:cubicBezTo>
                  <a:lnTo>
                    <a:pt x="0" y="121"/>
                  </a:lnTo>
                  <a:cubicBezTo>
                    <a:pt x="0" y="104"/>
                    <a:pt x="3" y="89"/>
                    <a:pt x="9" y="74"/>
                  </a:cubicBezTo>
                  <a:cubicBezTo>
                    <a:pt x="15" y="59"/>
                    <a:pt x="24" y="47"/>
                    <a:pt x="34" y="36"/>
                  </a:cubicBezTo>
                  <a:cubicBezTo>
                    <a:pt x="45" y="25"/>
                    <a:pt x="58" y="16"/>
                    <a:pt x="73" y="10"/>
                  </a:cubicBezTo>
                  <a:cubicBezTo>
                    <a:pt x="87" y="4"/>
                    <a:pt x="104" y="0"/>
                    <a:pt x="121" y="0"/>
                  </a:cubicBezTo>
                  <a:cubicBezTo>
                    <a:pt x="143" y="0"/>
                    <a:pt x="161" y="4"/>
                    <a:pt x="176" y="11"/>
                  </a:cubicBezTo>
                  <a:cubicBezTo>
                    <a:pt x="190" y="18"/>
                    <a:pt x="203" y="27"/>
                    <a:pt x="214" y="39"/>
                  </a:cubicBezTo>
                  <a:lnTo>
                    <a:pt x="174" y="82"/>
                  </a:lnTo>
                  <a:cubicBezTo>
                    <a:pt x="166" y="74"/>
                    <a:pt x="158" y="68"/>
                    <a:pt x="151" y="64"/>
                  </a:cubicBezTo>
                  <a:cubicBezTo>
                    <a:pt x="143" y="59"/>
                    <a:pt x="133" y="57"/>
                    <a:pt x="121" y="57"/>
                  </a:cubicBezTo>
                  <a:cubicBezTo>
                    <a:pt x="113" y="57"/>
                    <a:pt x="105" y="58"/>
                    <a:pt x="98" y="62"/>
                  </a:cubicBezTo>
                  <a:cubicBezTo>
                    <a:pt x="92" y="65"/>
                    <a:pt x="86" y="70"/>
                    <a:pt x="81" y="75"/>
                  </a:cubicBezTo>
                  <a:cubicBezTo>
                    <a:pt x="76" y="81"/>
                    <a:pt x="72" y="88"/>
                    <a:pt x="69" y="95"/>
                  </a:cubicBezTo>
                  <a:cubicBezTo>
                    <a:pt x="66" y="103"/>
                    <a:pt x="65" y="111"/>
                    <a:pt x="65" y="120"/>
                  </a:cubicBezTo>
                  <a:lnTo>
                    <a:pt x="65" y="121"/>
                  </a:lnTo>
                  <a:cubicBezTo>
                    <a:pt x="65" y="129"/>
                    <a:pt x="66" y="138"/>
                    <a:pt x="69" y="146"/>
                  </a:cubicBezTo>
                  <a:cubicBezTo>
                    <a:pt x="72" y="153"/>
                    <a:pt x="76" y="160"/>
                    <a:pt x="81" y="166"/>
                  </a:cubicBezTo>
                  <a:cubicBezTo>
                    <a:pt x="86" y="172"/>
                    <a:pt x="92" y="176"/>
                    <a:pt x="99" y="179"/>
                  </a:cubicBezTo>
                  <a:cubicBezTo>
                    <a:pt x="107" y="183"/>
                    <a:pt x="115" y="184"/>
                    <a:pt x="124" y="184"/>
                  </a:cubicBezTo>
                  <a:cubicBezTo>
                    <a:pt x="135" y="184"/>
                    <a:pt x="144" y="182"/>
                    <a:pt x="152" y="178"/>
                  </a:cubicBezTo>
                  <a:cubicBezTo>
                    <a:pt x="160" y="173"/>
                    <a:pt x="169" y="167"/>
                    <a:pt x="177" y="160"/>
                  </a:cubicBezTo>
                  <a:lnTo>
                    <a:pt x="215" y="199"/>
                  </a:lnTo>
                  <a:cubicBezTo>
                    <a:pt x="204" y="211"/>
                    <a:pt x="191" y="221"/>
                    <a:pt x="177" y="229"/>
                  </a:cubicBezTo>
                  <a:cubicBezTo>
                    <a:pt x="162" y="237"/>
                    <a:pt x="144" y="241"/>
                    <a:pt x="121" y="241"/>
                  </a:cubicBez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6" name="Freeform 55">
              <a:extLst>
                <a:ext uri="{FF2B5EF4-FFF2-40B4-BE49-F238E27FC236}">
                  <a16:creationId xmlns:a16="http://schemas.microsoft.com/office/drawing/2014/main" id="{E2B5A97B-41EB-5024-9332-1ECA9B78D4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0" y="468"/>
              <a:ext cx="8" cy="40"/>
            </a:xfrm>
            <a:custGeom>
              <a:avLst/>
              <a:gdLst>
                <a:gd name="T0" fmla="*/ 2 w 69"/>
                <a:gd name="T1" fmla="*/ 84 h 315"/>
                <a:gd name="T2" fmla="*/ 67 w 69"/>
                <a:gd name="T3" fmla="*/ 84 h 315"/>
                <a:gd name="T4" fmla="*/ 67 w 69"/>
                <a:gd name="T5" fmla="*/ 315 h 315"/>
                <a:gd name="T6" fmla="*/ 2 w 69"/>
                <a:gd name="T7" fmla="*/ 315 h 315"/>
                <a:gd name="T8" fmla="*/ 2 w 69"/>
                <a:gd name="T9" fmla="*/ 84 h 315"/>
                <a:gd name="T10" fmla="*/ 0 w 69"/>
                <a:gd name="T11" fmla="*/ 0 h 315"/>
                <a:gd name="T12" fmla="*/ 69 w 69"/>
                <a:gd name="T13" fmla="*/ 0 h 315"/>
                <a:gd name="T14" fmla="*/ 69 w 69"/>
                <a:gd name="T15" fmla="*/ 58 h 315"/>
                <a:gd name="T16" fmla="*/ 0 w 69"/>
                <a:gd name="T17" fmla="*/ 58 h 315"/>
                <a:gd name="T18" fmla="*/ 0 w 69"/>
                <a:gd name="T1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315">
                  <a:moveTo>
                    <a:pt x="2" y="84"/>
                  </a:moveTo>
                  <a:lnTo>
                    <a:pt x="67" y="84"/>
                  </a:lnTo>
                  <a:lnTo>
                    <a:pt x="67" y="315"/>
                  </a:lnTo>
                  <a:lnTo>
                    <a:pt x="2" y="315"/>
                  </a:lnTo>
                  <a:lnTo>
                    <a:pt x="2" y="84"/>
                  </a:lnTo>
                  <a:close/>
                  <a:moveTo>
                    <a:pt x="0" y="0"/>
                  </a:moveTo>
                  <a:lnTo>
                    <a:pt x="69" y="0"/>
                  </a:lnTo>
                  <a:lnTo>
                    <a:pt x="69" y="58"/>
                  </a:lnTo>
                  <a:lnTo>
                    <a:pt x="0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7" name="Freeform 56">
              <a:extLst>
                <a:ext uri="{FF2B5EF4-FFF2-40B4-BE49-F238E27FC236}">
                  <a16:creationId xmlns:a16="http://schemas.microsoft.com/office/drawing/2014/main" id="{C9643A01-1C15-4980-22B8-EB78CBB158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" y="478"/>
              <a:ext cx="26" cy="30"/>
            </a:xfrm>
            <a:custGeom>
              <a:avLst/>
              <a:gdLst>
                <a:gd name="T0" fmla="*/ 99 w 212"/>
                <a:gd name="T1" fmla="*/ 193 h 238"/>
                <a:gd name="T2" fmla="*/ 136 w 212"/>
                <a:gd name="T3" fmla="*/ 181 h 238"/>
                <a:gd name="T4" fmla="*/ 150 w 212"/>
                <a:gd name="T5" fmla="*/ 152 h 238"/>
                <a:gd name="T6" fmla="*/ 150 w 212"/>
                <a:gd name="T7" fmla="*/ 141 h 238"/>
                <a:gd name="T8" fmla="*/ 131 w 212"/>
                <a:gd name="T9" fmla="*/ 134 h 238"/>
                <a:gd name="T10" fmla="*/ 108 w 212"/>
                <a:gd name="T11" fmla="*/ 132 h 238"/>
                <a:gd name="T12" fmla="*/ 75 w 212"/>
                <a:gd name="T13" fmla="*/ 140 h 238"/>
                <a:gd name="T14" fmla="*/ 63 w 212"/>
                <a:gd name="T15" fmla="*/ 164 h 238"/>
                <a:gd name="T16" fmla="*/ 63 w 212"/>
                <a:gd name="T17" fmla="*/ 165 h 238"/>
                <a:gd name="T18" fmla="*/ 73 w 212"/>
                <a:gd name="T19" fmla="*/ 185 h 238"/>
                <a:gd name="T20" fmla="*/ 99 w 212"/>
                <a:gd name="T21" fmla="*/ 193 h 238"/>
                <a:gd name="T22" fmla="*/ 79 w 212"/>
                <a:gd name="T23" fmla="*/ 238 h 238"/>
                <a:gd name="T24" fmla="*/ 48 w 212"/>
                <a:gd name="T25" fmla="*/ 233 h 238"/>
                <a:gd name="T26" fmla="*/ 23 w 212"/>
                <a:gd name="T27" fmla="*/ 220 h 238"/>
                <a:gd name="T28" fmla="*/ 6 w 212"/>
                <a:gd name="T29" fmla="*/ 198 h 238"/>
                <a:gd name="T30" fmla="*/ 0 w 212"/>
                <a:gd name="T31" fmla="*/ 167 h 238"/>
                <a:gd name="T32" fmla="*/ 0 w 212"/>
                <a:gd name="T33" fmla="*/ 166 h 238"/>
                <a:gd name="T34" fmla="*/ 7 w 212"/>
                <a:gd name="T35" fmla="*/ 134 h 238"/>
                <a:gd name="T36" fmla="*/ 26 w 212"/>
                <a:gd name="T37" fmla="*/ 111 h 238"/>
                <a:gd name="T38" fmla="*/ 55 w 212"/>
                <a:gd name="T39" fmla="*/ 97 h 238"/>
                <a:gd name="T40" fmla="*/ 93 w 212"/>
                <a:gd name="T41" fmla="*/ 93 h 238"/>
                <a:gd name="T42" fmla="*/ 124 w 212"/>
                <a:gd name="T43" fmla="*/ 95 h 238"/>
                <a:gd name="T44" fmla="*/ 149 w 212"/>
                <a:gd name="T45" fmla="*/ 102 h 238"/>
                <a:gd name="T46" fmla="*/ 149 w 212"/>
                <a:gd name="T47" fmla="*/ 98 h 238"/>
                <a:gd name="T48" fmla="*/ 137 w 212"/>
                <a:gd name="T49" fmla="*/ 67 h 238"/>
                <a:gd name="T50" fmla="*/ 100 w 212"/>
                <a:gd name="T51" fmla="*/ 56 h 238"/>
                <a:gd name="T52" fmla="*/ 66 w 212"/>
                <a:gd name="T53" fmla="*/ 59 h 238"/>
                <a:gd name="T54" fmla="*/ 36 w 212"/>
                <a:gd name="T55" fmla="*/ 69 h 238"/>
                <a:gd name="T56" fmla="*/ 20 w 212"/>
                <a:gd name="T57" fmla="*/ 19 h 238"/>
                <a:gd name="T58" fmla="*/ 59 w 212"/>
                <a:gd name="T59" fmla="*/ 5 h 238"/>
                <a:gd name="T60" fmla="*/ 109 w 212"/>
                <a:gd name="T61" fmla="*/ 0 h 238"/>
                <a:gd name="T62" fmla="*/ 156 w 212"/>
                <a:gd name="T63" fmla="*/ 7 h 238"/>
                <a:gd name="T64" fmla="*/ 187 w 212"/>
                <a:gd name="T65" fmla="*/ 26 h 238"/>
                <a:gd name="T66" fmla="*/ 206 w 212"/>
                <a:gd name="T67" fmla="*/ 58 h 238"/>
                <a:gd name="T68" fmla="*/ 212 w 212"/>
                <a:gd name="T69" fmla="*/ 100 h 238"/>
                <a:gd name="T70" fmla="*/ 212 w 212"/>
                <a:gd name="T71" fmla="*/ 234 h 238"/>
                <a:gd name="T72" fmla="*/ 149 w 212"/>
                <a:gd name="T73" fmla="*/ 234 h 238"/>
                <a:gd name="T74" fmla="*/ 149 w 212"/>
                <a:gd name="T75" fmla="*/ 209 h 238"/>
                <a:gd name="T76" fmla="*/ 120 w 212"/>
                <a:gd name="T77" fmla="*/ 230 h 238"/>
                <a:gd name="T78" fmla="*/ 79 w 212"/>
                <a:gd name="T7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2" h="238">
                  <a:moveTo>
                    <a:pt x="99" y="193"/>
                  </a:moveTo>
                  <a:cubicBezTo>
                    <a:pt x="115" y="193"/>
                    <a:pt x="127" y="189"/>
                    <a:pt x="136" y="181"/>
                  </a:cubicBezTo>
                  <a:cubicBezTo>
                    <a:pt x="146" y="174"/>
                    <a:pt x="150" y="164"/>
                    <a:pt x="150" y="152"/>
                  </a:cubicBezTo>
                  <a:lnTo>
                    <a:pt x="150" y="141"/>
                  </a:lnTo>
                  <a:cubicBezTo>
                    <a:pt x="145" y="138"/>
                    <a:pt x="138" y="136"/>
                    <a:pt x="131" y="134"/>
                  </a:cubicBezTo>
                  <a:cubicBezTo>
                    <a:pt x="124" y="133"/>
                    <a:pt x="117" y="132"/>
                    <a:pt x="108" y="132"/>
                  </a:cubicBezTo>
                  <a:cubicBezTo>
                    <a:pt x="94" y="132"/>
                    <a:pt x="83" y="135"/>
                    <a:pt x="75" y="140"/>
                  </a:cubicBezTo>
                  <a:cubicBezTo>
                    <a:pt x="67" y="146"/>
                    <a:pt x="63" y="153"/>
                    <a:pt x="63" y="164"/>
                  </a:cubicBezTo>
                  <a:lnTo>
                    <a:pt x="63" y="165"/>
                  </a:lnTo>
                  <a:cubicBezTo>
                    <a:pt x="63" y="174"/>
                    <a:pt x="67" y="180"/>
                    <a:pt x="73" y="185"/>
                  </a:cubicBezTo>
                  <a:cubicBezTo>
                    <a:pt x="80" y="190"/>
                    <a:pt x="88" y="193"/>
                    <a:pt x="99" y="193"/>
                  </a:cubicBezTo>
                  <a:close/>
                  <a:moveTo>
                    <a:pt x="79" y="238"/>
                  </a:moveTo>
                  <a:cubicBezTo>
                    <a:pt x="68" y="238"/>
                    <a:pt x="58" y="236"/>
                    <a:pt x="48" y="233"/>
                  </a:cubicBezTo>
                  <a:cubicBezTo>
                    <a:pt x="39" y="230"/>
                    <a:pt x="30" y="226"/>
                    <a:pt x="23" y="220"/>
                  </a:cubicBezTo>
                  <a:cubicBezTo>
                    <a:pt x="16" y="214"/>
                    <a:pt x="10" y="206"/>
                    <a:pt x="6" y="198"/>
                  </a:cubicBezTo>
                  <a:cubicBezTo>
                    <a:pt x="2" y="189"/>
                    <a:pt x="0" y="179"/>
                    <a:pt x="0" y="167"/>
                  </a:cubicBezTo>
                  <a:lnTo>
                    <a:pt x="0" y="166"/>
                  </a:lnTo>
                  <a:cubicBezTo>
                    <a:pt x="0" y="154"/>
                    <a:pt x="2" y="143"/>
                    <a:pt x="7" y="134"/>
                  </a:cubicBezTo>
                  <a:cubicBezTo>
                    <a:pt x="11" y="124"/>
                    <a:pt x="18" y="117"/>
                    <a:pt x="26" y="111"/>
                  </a:cubicBezTo>
                  <a:cubicBezTo>
                    <a:pt x="34" y="105"/>
                    <a:pt x="44" y="100"/>
                    <a:pt x="55" y="97"/>
                  </a:cubicBezTo>
                  <a:cubicBezTo>
                    <a:pt x="67" y="94"/>
                    <a:pt x="79" y="93"/>
                    <a:pt x="93" y="93"/>
                  </a:cubicBezTo>
                  <a:cubicBezTo>
                    <a:pt x="105" y="93"/>
                    <a:pt x="115" y="94"/>
                    <a:pt x="124" y="95"/>
                  </a:cubicBezTo>
                  <a:cubicBezTo>
                    <a:pt x="133" y="97"/>
                    <a:pt x="141" y="99"/>
                    <a:pt x="149" y="102"/>
                  </a:cubicBezTo>
                  <a:lnTo>
                    <a:pt x="149" y="98"/>
                  </a:lnTo>
                  <a:cubicBezTo>
                    <a:pt x="149" y="85"/>
                    <a:pt x="145" y="74"/>
                    <a:pt x="137" y="67"/>
                  </a:cubicBezTo>
                  <a:cubicBezTo>
                    <a:pt x="129" y="60"/>
                    <a:pt x="116" y="56"/>
                    <a:pt x="100" y="56"/>
                  </a:cubicBezTo>
                  <a:cubicBezTo>
                    <a:pt x="87" y="56"/>
                    <a:pt x="76" y="57"/>
                    <a:pt x="66" y="59"/>
                  </a:cubicBezTo>
                  <a:cubicBezTo>
                    <a:pt x="57" y="62"/>
                    <a:pt x="47" y="65"/>
                    <a:pt x="36" y="69"/>
                  </a:cubicBezTo>
                  <a:lnTo>
                    <a:pt x="20" y="19"/>
                  </a:lnTo>
                  <a:cubicBezTo>
                    <a:pt x="32" y="13"/>
                    <a:pt x="46" y="9"/>
                    <a:pt x="59" y="5"/>
                  </a:cubicBezTo>
                  <a:cubicBezTo>
                    <a:pt x="73" y="2"/>
                    <a:pt x="90" y="0"/>
                    <a:pt x="109" y="0"/>
                  </a:cubicBezTo>
                  <a:cubicBezTo>
                    <a:pt x="127" y="0"/>
                    <a:pt x="143" y="2"/>
                    <a:pt x="156" y="7"/>
                  </a:cubicBezTo>
                  <a:cubicBezTo>
                    <a:pt x="168" y="11"/>
                    <a:pt x="179" y="18"/>
                    <a:pt x="187" y="26"/>
                  </a:cubicBezTo>
                  <a:cubicBezTo>
                    <a:pt x="196" y="35"/>
                    <a:pt x="202" y="45"/>
                    <a:pt x="206" y="58"/>
                  </a:cubicBezTo>
                  <a:cubicBezTo>
                    <a:pt x="210" y="70"/>
                    <a:pt x="212" y="84"/>
                    <a:pt x="212" y="100"/>
                  </a:cubicBezTo>
                  <a:lnTo>
                    <a:pt x="212" y="234"/>
                  </a:lnTo>
                  <a:lnTo>
                    <a:pt x="149" y="234"/>
                  </a:lnTo>
                  <a:lnTo>
                    <a:pt x="149" y="209"/>
                  </a:lnTo>
                  <a:cubicBezTo>
                    <a:pt x="141" y="218"/>
                    <a:pt x="131" y="225"/>
                    <a:pt x="120" y="230"/>
                  </a:cubicBezTo>
                  <a:cubicBezTo>
                    <a:pt x="109" y="235"/>
                    <a:pt x="95" y="238"/>
                    <a:pt x="79" y="238"/>
                  </a:cubicBezTo>
                </a:path>
              </a:pathLst>
            </a:custGeom>
            <a:solidFill>
              <a:srgbClr val="4F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pic>
        <p:nvPicPr>
          <p:cNvPr id="118" name="Imagen 13" descr="C:\Users\mperis\AppData\Local\Microsoft\Windows\INetCache\Content.Word\logo-UE-nextgeneration-color-outline.emf">
            <a:extLst>
              <a:ext uri="{FF2B5EF4-FFF2-40B4-BE49-F238E27FC236}">
                <a16:creationId xmlns:a16="http://schemas.microsoft.com/office/drawing/2014/main" id="{4E63E0A4-C753-0A4D-E5CE-BF26FB319B4E}"/>
              </a:ext>
            </a:extLst>
          </p:cNvPr>
          <p:cNvPicPr/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1062" t="-165968" r="-51959" b="-89032"/>
          <a:stretch/>
        </p:blipFill>
        <p:spPr bwMode="auto">
          <a:xfrm>
            <a:off x="9256712" y="-207806"/>
            <a:ext cx="2775759" cy="109396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custDataLst>
      <p:custData r:id="rId2"/>
      <p:custData r:id="rId3"/>
    </p:custDataLst>
    <p:extLst>
      <p:ext uri="{BB962C8B-B14F-4D97-AF65-F5344CB8AC3E}">
        <p14:creationId xmlns:p14="http://schemas.microsoft.com/office/powerpoint/2010/main" val="311816807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15AF58-28D7-8FD8-054A-A9A1BDBED2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uadroTexto 4">
            <a:extLst>
              <a:ext uri="{FF2B5EF4-FFF2-40B4-BE49-F238E27FC236}">
                <a16:creationId xmlns:a16="http://schemas.microsoft.com/office/drawing/2014/main" id="{80E3E3FC-15E8-877F-C21E-E9B398A42D92}"/>
              </a:ext>
            </a:extLst>
          </p:cNvPr>
          <p:cNvSpPr txBox="1"/>
          <p:nvPr/>
        </p:nvSpPr>
        <p:spPr>
          <a:xfrm>
            <a:off x="2773364" y="3036988"/>
            <a:ext cx="60352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s-ES" sz="3200" dirty="0" smtClean="0">
                <a:solidFill>
                  <a:srgbClr val="DEA726"/>
                </a:solidFill>
                <a:latin typeface="Trebuchet MS"/>
              </a:rPr>
              <a:t>Muchas gracias</a:t>
            </a:r>
            <a:endParaRPr lang="es-ES" sz="3200" dirty="0">
              <a:solidFill>
                <a:srgbClr val="DEA726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854063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uadroTexto 41">
            <a:extLst>
              <a:ext uri="{FF2B5EF4-FFF2-40B4-BE49-F238E27FC236}">
                <a16:creationId xmlns:a16="http://schemas.microsoft.com/office/drawing/2014/main" id="{BA12DD94-7E01-C9DE-7E4A-D33606021145}"/>
              </a:ext>
            </a:extLst>
          </p:cNvPr>
          <p:cNvSpPr txBox="1"/>
          <p:nvPr/>
        </p:nvSpPr>
        <p:spPr>
          <a:xfrm>
            <a:off x="452107" y="756848"/>
            <a:ext cx="94962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dirty="0">
                <a:solidFill>
                  <a:srgbClr val="DFA726"/>
                </a:solidFill>
                <a:latin typeface="Trebuchet MS"/>
                <a:cs typeface="Trebuchet MS"/>
              </a:rPr>
              <a:t>Presentación del servicio </a:t>
            </a:r>
            <a:endParaRPr lang="es-ES" sz="2000" dirty="0">
              <a:solidFill>
                <a:srgbClr val="DFA726"/>
              </a:solidFill>
              <a:latin typeface="Trebuchet M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16BB6EA-53BA-B5D8-6CA3-5DA41DE91D16}"/>
              </a:ext>
            </a:extLst>
          </p:cNvPr>
          <p:cNvGrpSpPr/>
          <p:nvPr/>
        </p:nvGrpSpPr>
        <p:grpSpPr>
          <a:xfrm>
            <a:off x="540327" y="1362025"/>
            <a:ext cx="11042073" cy="573876"/>
            <a:chOff x="540327" y="1018727"/>
            <a:chExt cx="11042073" cy="573876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146E48EF-2F18-B47F-B63B-82D23CFDFC66}"/>
                </a:ext>
              </a:extLst>
            </p:cNvPr>
            <p:cNvSpPr/>
            <p:nvPr/>
          </p:nvSpPr>
          <p:spPr>
            <a:xfrm>
              <a:off x="540327" y="1018727"/>
              <a:ext cx="10867198" cy="573876"/>
            </a:xfrm>
            <a:prstGeom prst="roundRect">
              <a:avLst/>
            </a:prstGeom>
            <a:solidFill>
              <a:srgbClr val="072647"/>
            </a:solidFill>
            <a:ln>
              <a:solidFill>
                <a:srgbClr val="072646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30FC44F-6D70-3C29-D624-11E827B25014}"/>
                </a:ext>
              </a:extLst>
            </p:cNvPr>
            <p:cNvSpPr txBox="1"/>
            <p:nvPr/>
          </p:nvSpPr>
          <p:spPr>
            <a:xfrm>
              <a:off x="1324586" y="1069341"/>
              <a:ext cx="1025781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" sz="1400" dirty="0">
                  <a:solidFill>
                    <a:schemeClr val="bg1"/>
                  </a:solidFill>
                  <a:latin typeface="Trebuchet MS"/>
                </a:rPr>
                <a:t>El objeto del servicio es facilitar la obtención del PIN Salud a la ciudadanía mediante un sistema de video identificación remota accesible a través del portal del Gobierno de Aragón.</a:t>
              </a:r>
            </a:p>
          </p:txBody>
        </p:sp>
        <p:pic>
          <p:nvPicPr>
            <p:cNvPr id="26" name="Graphic 25" descr="Bullseye outline">
              <a:extLst>
                <a:ext uri="{FF2B5EF4-FFF2-40B4-BE49-F238E27FC236}">
                  <a16:creationId xmlns:a16="http://schemas.microsoft.com/office/drawing/2014/main" id="{22627D17-14A8-9C0B-68F4-930D8C8D391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xmlns="" r:embed="rId2"/>
                </a:ext>
              </a:extLst>
            </a:blip>
            <a:stretch>
              <a:fillRect/>
            </a:stretch>
          </p:blipFill>
          <p:spPr>
            <a:xfrm>
              <a:off x="645237" y="1053428"/>
              <a:ext cx="504474" cy="504474"/>
            </a:xfrm>
            <a:prstGeom prst="rect">
              <a:avLst/>
            </a:prstGeom>
          </p:spPr>
        </p:pic>
      </p:grpSp>
      <p:grpSp>
        <p:nvGrpSpPr>
          <p:cNvPr id="2" name="Graphic 4">
            <a:extLst>
              <a:ext uri="{FF2B5EF4-FFF2-40B4-BE49-F238E27FC236}">
                <a16:creationId xmlns:a16="http://schemas.microsoft.com/office/drawing/2014/main" id="{A564E6E0-D03D-02AD-67AF-2DFCEF97B60A}"/>
              </a:ext>
            </a:extLst>
          </p:cNvPr>
          <p:cNvGrpSpPr/>
          <p:nvPr/>
        </p:nvGrpSpPr>
        <p:grpSpPr>
          <a:xfrm>
            <a:off x="1098288" y="2536411"/>
            <a:ext cx="756000" cy="756000"/>
            <a:chOff x="3607758" y="4793256"/>
            <a:chExt cx="362309" cy="361971"/>
          </a:xfrm>
          <a:solidFill>
            <a:srgbClr val="012169"/>
          </a:solidFill>
        </p:grpSpPr>
        <p:sp>
          <p:nvSpPr>
            <p:cNvPr id="3" name="Graphic 4">
              <a:extLst>
                <a:ext uri="{FF2B5EF4-FFF2-40B4-BE49-F238E27FC236}">
                  <a16:creationId xmlns:a16="http://schemas.microsoft.com/office/drawing/2014/main" id="{2FEFB6BB-6C06-051A-3583-5E052DE21685}"/>
                </a:ext>
              </a:extLst>
            </p:cNvPr>
            <p:cNvSpPr/>
            <p:nvPr/>
          </p:nvSpPr>
          <p:spPr>
            <a:xfrm>
              <a:off x="3607758" y="4793256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6 w 362309"/>
                <a:gd name="connsiteY2" fmla="*/ 361972 h 361971"/>
                <a:gd name="connsiteX3" fmla="*/ 362310 w 362309"/>
                <a:gd name="connsiteY3" fmla="*/ 181305 h 361971"/>
                <a:gd name="connsiteX4" fmla="*/ 362310 w 362309"/>
                <a:gd name="connsiteY4" fmla="*/ 181305 h 361971"/>
                <a:gd name="connsiteX5" fmla="*/ 181474 w 362309"/>
                <a:gd name="connsiteY5" fmla="*/ 0 h 361971"/>
                <a:gd name="connsiteX6" fmla="*/ 181474 w 362309"/>
                <a:gd name="connsiteY6" fmla="*/ 0 h 361971"/>
                <a:gd name="connsiteX7" fmla="*/ 181474 w 362309"/>
                <a:gd name="connsiteY7" fmla="*/ 348565 h 361971"/>
                <a:gd name="connsiteX8" fmla="*/ 12780 w 362309"/>
                <a:gd name="connsiteY8" fmla="*/ 180667 h 361971"/>
                <a:gd name="connsiteX9" fmla="*/ 180836 w 362309"/>
                <a:gd name="connsiteY9" fmla="*/ 12129 h 361971"/>
                <a:gd name="connsiteX10" fmla="*/ 349530 w 362309"/>
                <a:gd name="connsiteY10" fmla="*/ 180028 h 361971"/>
                <a:gd name="connsiteX11" fmla="*/ 349530 w 362309"/>
                <a:gd name="connsiteY11" fmla="*/ 180028 h 361971"/>
                <a:gd name="connsiteX12" fmla="*/ 181474 w 362309"/>
                <a:gd name="connsiteY12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257"/>
                    <a:pt x="81152" y="361972"/>
                    <a:pt x="180836" y="361972"/>
                  </a:cubicBezTo>
                  <a:cubicBezTo>
                    <a:pt x="280518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310" y="80438"/>
                    <a:pt x="281796" y="0"/>
                    <a:pt x="181474" y="0"/>
                  </a:cubicBezTo>
                  <a:cubicBezTo>
                    <a:pt x="181474" y="0"/>
                    <a:pt x="181474" y="0"/>
                    <a:pt x="181474" y="0"/>
                  </a:cubicBezTo>
                  <a:close/>
                  <a:moveTo>
                    <a:pt x="181474" y="348565"/>
                  </a:moveTo>
                  <a:cubicBezTo>
                    <a:pt x="88181" y="348565"/>
                    <a:pt x="12780" y="273234"/>
                    <a:pt x="12780" y="180667"/>
                  </a:cubicBezTo>
                  <a:cubicBezTo>
                    <a:pt x="12780" y="88099"/>
                    <a:pt x="88181" y="12129"/>
                    <a:pt x="180836" y="12129"/>
                  </a:cubicBezTo>
                  <a:cubicBezTo>
                    <a:pt x="274128" y="12129"/>
                    <a:pt x="349530" y="87461"/>
                    <a:pt x="349530" y="180028"/>
                  </a:cubicBezTo>
                  <a:lnTo>
                    <a:pt x="349530" y="180028"/>
                  </a:lnTo>
                  <a:cubicBezTo>
                    <a:pt x="349530" y="273234"/>
                    <a:pt x="274128" y="348565"/>
                    <a:pt x="181474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Graphic 4">
              <a:extLst>
                <a:ext uri="{FF2B5EF4-FFF2-40B4-BE49-F238E27FC236}">
                  <a16:creationId xmlns:a16="http://schemas.microsoft.com/office/drawing/2014/main" id="{19BB73A0-EC8A-1372-EC7D-FA2BAA8A3678}"/>
                </a:ext>
              </a:extLst>
            </p:cNvPr>
            <p:cNvSpPr/>
            <p:nvPr/>
          </p:nvSpPr>
          <p:spPr>
            <a:xfrm>
              <a:off x="3721499" y="4861565"/>
              <a:ext cx="134827" cy="225354"/>
            </a:xfrm>
            <a:custGeom>
              <a:avLst/>
              <a:gdLst>
                <a:gd name="connsiteX0" fmla="*/ 110546 w 134827"/>
                <a:gd name="connsiteY0" fmla="*/ 0 h 225354"/>
                <a:gd name="connsiteX1" fmla="*/ 24282 w 134827"/>
                <a:gd name="connsiteY1" fmla="*/ 0 h 225354"/>
                <a:gd name="connsiteX2" fmla="*/ 0 w 134827"/>
                <a:gd name="connsiteY2" fmla="*/ 24259 h 225354"/>
                <a:gd name="connsiteX3" fmla="*/ 0 w 134827"/>
                <a:gd name="connsiteY3" fmla="*/ 201095 h 225354"/>
                <a:gd name="connsiteX4" fmla="*/ 24282 w 134827"/>
                <a:gd name="connsiteY4" fmla="*/ 225355 h 225354"/>
                <a:gd name="connsiteX5" fmla="*/ 110546 w 134827"/>
                <a:gd name="connsiteY5" fmla="*/ 225355 h 225354"/>
                <a:gd name="connsiteX6" fmla="*/ 134828 w 134827"/>
                <a:gd name="connsiteY6" fmla="*/ 201095 h 225354"/>
                <a:gd name="connsiteX7" fmla="*/ 134828 w 134827"/>
                <a:gd name="connsiteY7" fmla="*/ 24259 h 225354"/>
                <a:gd name="connsiteX8" fmla="*/ 110546 w 134827"/>
                <a:gd name="connsiteY8" fmla="*/ 0 h 225354"/>
                <a:gd name="connsiteX9" fmla="*/ 122048 w 134827"/>
                <a:gd name="connsiteY9" fmla="*/ 200457 h 225354"/>
                <a:gd name="connsiteX10" fmla="*/ 110546 w 134827"/>
                <a:gd name="connsiteY10" fmla="*/ 211948 h 225354"/>
                <a:gd name="connsiteX11" fmla="*/ 24282 w 134827"/>
                <a:gd name="connsiteY11" fmla="*/ 211948 h 225354"/>
                <a:gd name="connsiteX12" fmla="*/ 12780 w 134827"/>
                <a:gd name="connsiteY12" fmla="*/ 200457 h 225354"/>
                <a:gd name="connsiteX13" fmla="*/ 12780 w 134827"/>
                <a:gd name="connsiteY13" fmla="*/ 23620 h 225354"/>
                <a:gd name="connsiteX14" fmla="*/ 24282 w 134827"/>
                <a:gd name="connsiteY14" fmla="*/ 12129 h 225354"/>
                <a:gd name="connsiteX15" fmla="*/ 110546 w 134827"/>
                <a:gd name="connsiteY15" fmla="*/ 12129 h 225354"/>
                <a:gd name="connsiteX16" fmla="*/ 122048 w 134827"/>
                <a:gd name="connsiteY16" fmla="*/ 23620 h 225354"/>
                <a:gd name="connsiteX17" fmla="*/ 122048 w 134827"/>
                <a:gd name="connsiteY17" fmla="*/ 200457 h 225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4827" h="225354">
                  <a:moveTo>
                    <a:pt x="110546" y="0"/>
                  </a:moveTo>
                  <a:lnTo>
                    <a:pt x="24282" y="0"/>
                  </a:lnTo>
                  <a:cubicBezTo>
                    <a:pt x="10863" y="0"/>
                    <a:pt x="0" y="10852"/>
                    <a:pt x="0" y="24259"/>
                  </a:cubicBezTo>
                  <a:lnTo>
                    <a:pt x="0" y="201095"/>
                  </a:lnTo>
                  <a:cubicBezTo>
                    <a:pt x="0" y="214502"/>
                    <a:pt x="10863" y="225355"/>
                    <a:pt x="24282" y="225355"/>
                  </a:cubicBezTo>
                  <a:lnTo>
                    <a:pt x="110546" y="225355"/>
                  </a:lnTo>
                  <a:cubicBezTo>
                    <a:pt x="123965" y="225355"/>
                    <a:pt x="134828" y="214502"/>
                    <a:pt x="134828" y="201095"/>
                  </a:cubicBezTo>
                  <a:lnTo>
                    <a:pt x="134828" y="24259"/>
                  </a:lnTo>
                  <a:cubicBezTo>
                    <a:pt x="134828" y="10852"/>
                    <a:pt x="123965" y="0"/>
                    <a:pt x="110546" y="0"/>
                  </a:cubicBezTo>
                  <a:close/>
                  <a:moveTo>
                    <a:pt x="122048" y="200457"/>
                  </a:moveTo>
                  <a:cubicBezTo>
                    <a:pt x="122048" y="206841"/>
                    <a:pt x="116936" y="211948"/>
                    <a:pt x="110546" y="211948"/>
                  </a:cubicBezTo>
                  <a:lnTo>
                    <a:pt x="24282" y="211948"/>
                  </a:lnTo>
                  <a:cubicBezTo>
                    <a:pt x="17892" y="211948"/>
                    <a:pt x="12780" y="206841"/>
                    <a:pt x="12780" y="200457"/>
                  </a:cubicBezTo>
                  <a:lnTo>
                    <a:pt x="12780" y="23620"/>
                  </a:lnTo>
                  <a:cubicBezTo>
                    <a:pt x="12780" y="17236"/>
                    <a:pt x="17892" y="12129"/>
                    <a:pt x="24282" y="12129"/>
                  </a:cubicBezTo>
                  <a:lnTo>
                    <a:pt x="110546" y="12129"/>
                  </a:lnTo>
                  <a:cubicBezTo>
                    <a:pt x="116936" y="12129"/>
                    <a:pt x="122048" y="17236"/>
                    <a:pt x="122048" y="23620"/>
                  </a:cubicBezTo>
                  <a:lnTo>
                    <a:pt x="122048" y="200457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Graphic 4">
              <a:extLst>
                <a:ext uri="{FF2B5EF4-FFF2-40B4-BE49-F238E27FC236}">
                  <a16:creationId xmlns:a16="http://schemas.microsoft.com/office/drawing/2014/main" id="{52904E6D-B380-ABCF-4636-3CB99567EB3A}"/>
                </a:ext>
              </a:extLst>
            </p:cNvPr>
            <p:cNvSpPr/>
            <p:nvPr/>
          </p:nvSpPr>
          <p:spPr>
            <a:xfrm>
              <a:off x="3782203" y="5041593"/>
              <a:ext cx="14696" cy="14683"/>
            </a:xfrm>
            <a:custGeom>
              <a:avLst/>
              <a:gdLst>
                <a:gd name="connsiteX0" fmla="*/ 7029 w 14696"/>
                <a:gd name="connsiteY0" fmla="*/ 0 h 14683"/>
                <a:gd name="connsiteX1" fmla="*/ 0 w 14696"/>
                <a:gd name="connsiteY1" fmla="*/ 7661 h 14683"/>
                <a:gd name="connsiteX2" fmla="*/ 7668 w 14696"/>
                <a:gd name="connsiteY2" fmla="*/ 14683 h 14683"/>
                <a:gd name="connsiteX3" fmla="*/ 14697 w 14696"/>
                <a:gd name="connsiteY3" fmla="*/ 7023 h 14683"/>
                <a:gd name="connsiteX4" fmla="*/ 14697 w 14696"/>
                <a:gd name="connsiteY4" fmla="*/ 7023 h 14683"/>
                <a:gd name="connsiteX5" fmla="*/ 7029 w 14696"/>
                <a:gd name="connsiteY5" fmla="*/ 0 h 14683"/>
                <a:gd name="connsiteX6" fmla="*/ 7029 w 14696"/>
                <a:gd name="connsiteY6" fmla="*/ 0 h 14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96" h="14683">
                  <a:moveTo>
                    <a:pt x="7029" y="0"/>
                  </a:moveTo>
                  <a:cubicBezTo>
                    <a:pt x="3195" y="0"/>
                    <a:pt x="0" y="3192"/>
                    <a:pt x="0" y="7661"/>
                  </a:cubicBezTo>
                  <a:cubicBezTo>
                    <a:pt x="0" y="11491"/>
                    <a:pt x="3195" y="14683"/>
                    <a:pt x="7668" y="14683"/>
                  </a:cubicBezTo>
                  <a:cubicBezTo>
                    <a:pt x="11502" y="14683"/>
                    <a:pt x="14697" y="11491"/>
                    <a:pt x="14697" y="7023"/>
                  </a:cubicBezTo>
                  <a:cubicBezTo>
                    <a:pt x="14697" y="7023"/>
                    <a:pt x="14697" y="7023"/>
                    <a:pt x="14697" y="7023"/>
                  </a:cubicBezTo>
                  <a:cubicBezTo>
                    <a:pt x="14697" y="3192"/>
                    <a:pt x="10863" y="0"/>
                    <a:pt x="7029" y="0"/>
                  </a:cubicBezTo>
                  <a:cubicBezTo>
                    <a:pt x="7029" y="0"/>
                    <a:pt x="7029" y="0"/>
                    <a:pt x="7029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128A936-8421-BCE5-40F8-EDE0433CBA3E}"/>
              </a:ext>
            </a:extLst>
          </p:cNvPr>
          <p:cNvGrpSpPr/>
          <p:nvPr/>
        </p:nvGrpSpPr>
        <p:grpSpPr>
          <a:xfrm>
            <a:off x="1296288" y="3515857"/>
            <a:ext cx="360000" cy="360000"/>
            <a:chOff x="1259689" y="3204739"/>
            <a:chExt cx="360000" cy="3600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164161C9-DAF5-E418-019A-C43DA285434B}"/>
                </a:ext>
              </a:extLst>
            </p:cNvPr>
            <p:cNvSpPr/>
            <p:nvPr/>
          </p:nvSpPr>
          <p:spPr bwMode="gray">
            <a:xfrm>
              <a:off x="1259689" y="3204739"/>
              <a:ext cx="360000" cy="360000"/>
            </a:xfrm>
            <a:prstGeom prst="ellipse">
              <a:avLst/>
            </a:prstGeom>
            <a:solidFill>
              <a:srgbClr val="DEA72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7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FF0F1BD-13AB-0474-72B0-EB5D9D9FF33B}"/>
                </a:ext>
              </a:extLst>
            </p:cNvPr>
            <p:cNvSpPr txBox="1"/>
            <p:nvPr/>
          </p:nvSpPr>
          <p:spPr>
            <a:xfrm>
              <a:off x="1299023" y="3261629"/>
              <a:ext cx="28133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s-ES_tradnl" sz="1600" dirty="0">
                  <a:solidFill>
                    <a:schemeClr val="bg1"/>
                  </a:solidFill>
                </a:rPr>
                <a:t>01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20505520-42E5-0CC8-BF1C-550F4787566A}"/>
              </a:ext>
            </a:extLst>
          </p:cNvPr>
          <p:cNvSpPr txBox="1"/>
          <p:nvPr/>
        </p:nvSpPr>
        <p:spPr>
          <a:xfrm>
            <a:off x="506117" y="4165655"/>
            <a:ext cx="194034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1" dirty="0">
                <a:solidFill>
                  <a:srgbClr val="041E42"/>
                </a:solidFill>
                <a:latin typeface="Trebuchet MS"/>
              </a:rPr>
              <a:t>Generación de </a:t>
            </a:r>
          </a:p>
          <a:p>
            <a:pPr algn="ctr"/>
            <a:r>
              <a:rPr lang="es-ES" sz="1200" b="1" dirty="0">
                <a:solidFill>
                  <a:srgbClr val="041E42"/>
                </a:solidFill>
                <a:latin typeface="Trebuchet MS"/>
              </a:rPr>
              <a:t>PIN Salud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8FAE22F-582F-9512-A6FD-D5915643F310}"/>
              </a:ext>
            </a:extLst>
          </p:cNvPr>
          <p:cNvCxnSpPr>
            <a:cxnSpLocks/>
          </p:cNvCxnSpPr>
          <p:nvPr/>
        </p:nvCxnSpPr>
        <p:spPr>
          <a:xfrm>
            <a:off x="1234299" y="4766896"/>
            <a:ext cx="48397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8CDB332C-4049-AD19-5BFB-23F62818FAA5}"/>
              </a:ext>
            </a:extLst>
          </p:cNvPr>
          <p:cNvSpPr txBox="1"/>
          <p:nvPr/>
        </p:nvSpPr>
        <p:spPr>
          <a:xfrm>
            <a:off x="425452" y="5014713"/>
            <a:ext cx="2101673" cy="1061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50" dirty="0">
                <a:solidFill>
                  <a:srgbClr val="041E42"/>
                </a:solidFill>
                <a:latin typeface="Trebuchet MS"/>
              </a:rPr>
              <a:t>Obtención del PIN Salud de forma </a:t>
            </a:r>
            <a:r>
              <a:rPr lang="es-ES" sz="1050" b="1" dirty="0">
                <a:solidFill>
                  <a:srgbClr val="DEA726"/>
                </a:solidFill>
                <a:latin typeface="Trebuchet MS"/>
              </a:rPr>
              <a:t>100% digital</a:t>
            </a:r>
            <a:r>
              <a:rPr lang="es-ES" sz="1050" dirty="0">
                <a:solidFill>
                  <a:srgbClr val="041E42"/>
                </a:solidFill>
                <a:latin typeface="Trebuchet MS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50" dirty="0">
                <a:solidFill>
                  <a:srgbClr val="041E42"/>
                </a:solidFill>
                <a:latin typeface="Trebuchet MS"/>
              </a:rPr>
              <a:t>Permite el acceso a servicios del sistema sanitario y a servicios electrónicos del Gobierno de Aragón.</a:t>
            </a:r>
          </a:p>
        </p:txBody>
      </p:sp>
      <p:grpSp>
        <p:nvGrpSpPr>
          <p:cNvPr id="11" name="Graphic 4">
            <a:extLst>
              <a:ext uri="{FF2B5EF4-FFF2-40B4-BE49-F238E27FC236}">
                <a16:creationId xmlns:a16="http://schemas.microsoft.com/office/drawing/2014/main" id="{1FE751D8-696C-F769-E879-826B0CC4F1CF}"/>
              </a:ext>
            </a:extLst>
          </p:cNvPr>
          <p:cNvGrpSpPr/>
          <p:nvPr/>
        </p:nvGrpSpPr>
        <p:grpSpPr>
          <a:xfrm>
            <a:off x="3443585" y="2536411"/>
            <a:ext cx="756000" cy="756000"/>
            <a:chOff x="467104" y="918179"/>
            <a:chExt cx="362309" cy="361971"/>
          </a:xfrm>
          <a:solidFill>
            <a:srgbClr val="012169"/>
          </a:solidFill>
        </p:grpSpPr>
        <p:sp>
          <p:nvSpPr>
            <p:cNvPr id="12" name="Graphic 4">
              <a:extLst>
                <a:ext uri="{FF2B5EF4-FFF2-40B4-BE49-F238E27FC236}">
                  <a16:creationId xmlns:a16="http://schemas.microsoft.com/office/drawing/2014/main" id="{B65A3AF9-98E9-8FA3-3EE8-461E5D2134AD}"/>
                </a:ext>
              </a:extLst>
            </p:cNvPr>
            <p:cNvSpPr/>
            <p:nvPr/>
          </p:nvSpPr>
          <p:spPr>
            <a:xfrm>
              <a:off x="467104" y="918179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1305 h 361971"/>
                <a:gd name="connsiteX2" fmla="*/ 181474 w 362309"/>
                <a:gd name="connsiteY2" fmla="*/ 361972 h 361971"/>
                <a:gd name="connsiteX3" fmla="*/ 362309 w 362309"/>
                <a:gd name="connsiteY3" fmla="*/ 181305 h 361971"/>
                <a:gd name="connsiteX4" fmla="*/ 181474 w 362309"/>
                <a:gd name="connsiteY4" fmla="*/ 0 h 361971"/>
                <a:gd name="connsiteX5" fmla="*/ 181474 w 362309"/>
                <a:gd name="connsiteY5" fmla="*/ 0 h 361971"/>
                <a:gd name="connsiteX6" fmla="*/ 181474 w 362309"/>
                <a:gd name="connsiteY6" fmla="*/ 349204 h 361971"/>
                <a:gd name="connsiteX7" fmla="*/ 13419 w 362309"/>
                <a:gd name="connsiteY7" fmla="*/ 180667 h 361971"/>
                <a:gd name="connsiteX8" fmla="*/ 181474 w 362309"/>
                <a:gd name="connsiteY8" fmla="*/ 12768 h 361971"/>
                <a:gd name="connsiteX9" fmla="*/ 349530 w 362309"/>
                <a:gd name="connsiteY9" fmla="*/ 180667 h 361971"/>
                <a:gd name="connsiteX10" fmla="*/ 181474 w 362309"/>
                <a:gd name="connsiteY10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1474" y="361972"/>
                  </a:cubicBezTo>
                  <a:cubicBezTo>
                    <a:pt x="281796" y="361972"/>
                    <a:pt x="362309" y="280895"/>
                    <a:pt x="362309" y="181305"/>
                  </a:cubicBezTo>
                  <a:cubicBezTo>
                    <a:pt x="362309" y="81077"/>
                    <a:pt x="281796" y="0"/>
                    <a:pt x="181474" y="0"/>
                  </a:cubicBezTo>
                  <a:cubicBezTo>
                    <a:pt x="181474" y="0"/>
                    <a:pt x="181474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3419" y="273873"/>
                    <a:pt x="13419" y="180667"/>
                  </a:cubicBezTo>
                  <a:cubicBezTo>
                    <a:pt x="13419" y="87461"/>
                    <a:pt x="88820" y="12768"/>
                    <a:pt x="181474" y="12768"/>
                  </a:cubicBezTo>
                  <a:cubicBezTo>
                    <a:pt x="274128" y="12768"/>
                    <a:pt x="349530" y="88099"/>
                    <a:pt x="349530" y="180667"/>
                  </a:cubicBezTo>
                  <a:cubicBezTo>
                    <a:pt x="349530" y="273873"/>
                    <a:pt x="274128" y="349204"/>
                    <a:pt x="181474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Graphic 4">
              <a:extLst>
                <a:ext uri="{FF2B5EF4-FFF2-40B4-BE49-F238E27FC236}">
                  <a16:creationId xmlns:a16="http://schemas.microsoft.com/office/drawing/2014/main" id="{09A320F0-41EE-B112-539D-7F6681D6B703}"/>
                </a:ext>
              </a:extLst>
            </p:cNvPr>
            <p:cNvSpPr/>
            <p:nvPr/>
          </p:nvSpPr>
          <p:spPr>
            <a:xfrm>
              <a:off x="552594" y="1003724"/>
              <a:ext cx="190800" cy="203010"/>
            </a:xfrm>
            <a:custGeom>
              <a:avLst/>
              <a:gdLst>
                <a:gd name="connsiteX0" fmla="*/ 186721 w 190800"/>
                <a:gd name="connsiteY0" fmla="*/ 15322 h 203010"/>
                <a:gd name="connsiteX1" fmla="*/ 180970 w 190800"/>
                <a:gd name="connsiteY1" fmla="*/ 15322 h 203010"/>
                <a:gd name="connsiteX2" fmla="*/ 100457 w 190800"/>
                <a:gd name="connsiteY2" fmla="*/ 1915 h 203010"/>
                <a:gd name="connsiteX3" fmla="*/ 91511 w 190800"/>
                <a:gd name="connsiteY3" fmla="*/ 1915 h 203010"/>
                <a:gd name="connsiteX4" fmla="*/ 10998 w 190800"/>
                <a:gd name="connsiteY4" fmla="*/ 15322 h 203010"/>
                <a:gd name="connsiteX5" fmla="*/ 2052 w 190800"/>
                <a:gd name="connsiteY5" fmla="*/ 17875 h 203010"/>
                <a:gd name="connsiteX6" fmla="*/ 1413 w 190800"/>
                <a:gd name="connsiteY6" fmla="*/ 20429 h 203010"/>
                <a:gd name="connsiteX7" fmla="*/ 92789 w 190800"/>
                <a:gd name="connsiteY7" fmla="*/ 202372 h 203010"/>
                <a:gd name="connsiteX8" fmla="*/ 93428 w 190800"/>
                <a:gd name="connsiteY8" fmla="*/ 203011 h 203010"/>
                <a:gd name="connsiteX9" fmla="*/ 94067 w 190800"/>
                <a:gd name="connsiteY9" fmla="*/ 203011 h 203010"/>
                <a:gd name="connsiteX10" fmla="*/ 95345 w 190800"/>
                <a:gd name="connsiteY10" fmla="*/ 203011 h 203010"/>
                <a:gd name="connsiteX11" fmla="*/ 95345 w 190800"/>
                <a:gd name="connsiteY11" fmla="*/ 203011 h 203010"/>
                <a:gd name="connsiteX12" fmla="*/ 96623 w 190800"/>
                <a:gd name="connsiteY12" fmla="*/ 203011 h 203010"/>
                <a:gd name="connsiteX13" fmla="*/ 97262 w 190800"/>
                <a:gd name="connsiteY13" fmla="*/ 203011 h 203010"/>
                <a:gd name="connsiteX14" fmla="*/ 97901 w 190800"/>
                <a:gd name="connsiteY14" fmla="*/ 202372 h 203010"/>
                <a:gd name="connsiteX15" fmla="*/ 189277 w 190800"/>
                <a:gd name="connsiteY15" fmla="*/ 20429 h 203010"/>
                <a:gd name="connsiteX16" fmla="*/ 186721 w 190800"/>
                <a:gd name="connsiteY16" fmla="*/ 15322 h 203010"/>
                <a:gd name="connsiteX17" fmla="*/ 13554 w 190800"/>
                <a:gd name="connsiteY17" fmla="*/ 30643 h 203010"/>
                <a:gd name="connsiteX18" fmla="*/ 95984 w 190800"/>
                <a:gd name="connsiteY18" fmla="*/ 15322 h 203010"/>
                <a:gd name="connsiteX19" fmla="*/ 126655 w 190800"/>
                <a:gd name="connsiteY19" fmla="*/ 32558 h 203010"/>
                <a:gd name="connsiteX20" fmla="*/ 33362 w 190800"/>
                <a:gd name="connsiteY20" fmla="*/ 125764 h 203010"/>
                <a:gd name="connsiteX21" fmla="*/ 13554 w 190800"/>
                <a:gd name="connsiteY21" fmla="*/ 30643 h 203010"/>
                <a:gd name="connsiteX22" fmla="*/ 13554 w 190800"/>
                <a:gd name="connsiteY22" fmla="*/ 30643 h 203010"/>
                <a:gd name="connsiteX23" fmla="*/ 48059 w 190800"/>
                <a:gd name="connsiteY23" fmla="*/ 147470 h 203010"/>
                <a:gd name="connsiteX24" fmla="*/ 40391 w 190800"/>
                <a:gd name="connsiteY24" fmla="*/ 136617 h 203010"/>
                <a:gd name="connsiteX25" fmla="*/ 141991 w 190800"/>
                <a:gd name="connsiteY25" fmla="*/ 35112 h 203010"/>
                <a:gd name="connsiteX26" fmla="*/ 161161 w 190800"/>
                <a:gd name="connsiteY26" fmla="*/ 34474 h 203010"/>
                <a:gd name="connsiteX27" fmla="*/ 48059 w 190800"/>
                <a:gd name="connsiteY27" fmla="*/ 147470 h 203010"/>
                <a:gd name="connsiteX28" fmla="*/ 95345 w 190800"/>
                <a:gd name="connsiteY28" fmla="*/ 189604 h 203010"/>
                <a:gd name="connsiteX29" fmla="*/ 55727 w 190800"/>
                <a:gd name="connsiteY29" fmla="*/ 157684 h 203010"/>
                <a:gd name="connsiteX30" fmla="*/ 177775 w 190800"/>
                <a:gd name="connsiteY30" fmla="*/ 35750 h 203010"/>
                <a:gd name="connsiteX31" fmla="*/ 95345 w 190800"/>
                <a:gd name="connsiteY31" fmla="*/ 189604 h 203010"/>
                <a:gd name="connsiteX32" fmla="*/ 95345 w 190800"/>
                <a:gd name="connsiteY32" fmla="*/ 189604 h 203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90800" h="203010">
                  <a:moveTo>
                    <a:pt x="186721" y="15322"/>
                  </a:moveTo>
                  <a:cubicBezTo>
                    <a:pt x="184804" y="14045"/>
                    <a:pt x="182248" y="14045"/>
                    <a:pt x="180970" y="15322"/>
                  </a:cubicBezTo>
                  <a:cubicBezTo>
                    <a:pt x="154132" y="29366"/>
                    <a:pt x="121543" y="23621"/>
                    <a:pt x="100457" y="1915"/>
                  </a:cubicBezTo>
                  <a:cubicBezTo>
                    <a:pt x="97901" y="-638"/>
                    <a:pt x="94067" y="-638"/>
                    <a:pt x="91511" y="1915"/>
                  </a:cubicBezTo>
                  <a:cubicBezTo>
                    <a:pt x="71063" y="24259"/>
                    <a:pt x="37835" y="29366"/>
                    <a:pt x="10998" y="15322"/>
                  </a:cubicBezTo>
                  <a:cubicBezTo>
                    <a:pt x="7803" y="13406"/>
                    <a:pt x="3969" y="14683"/>
                    <a:pt x="2052" y="17875"/>
                  </a:cubicBezTo>
                  <a:cubicBezTo>
                    <a:pt x="1413" y="18514"/>
                    <a:pt x="1413" y="19152"/>
                    <a:pt x="1413" y="20429"/>
                  </a:cubicBezTo>
                  <a:cubicBezTo>
                    <a:pt x="-13284" y="146193"/>
                    <a:pt x="91511" y="201734"/>
                    <a:pt x="92789" y="202372"/>
                  </a:cubicBezTo>
                  <a:lnTo>
                    <a:pt x="93428" y="203011"/>
                  </a:lnTo>
                  <a:lnTo>
                    <a:pt x="94067" y="203011"/>
                  </a:lnTo>
                  <a:lnTo>
                    <a:pt x="95345" y="203011"/>
                  </a:lnTo>
                  <a:lnTo>
                    <a:pt x="95345" y="203011"/>
                  </a:lnTo>
                  <a:lnTo>
                    <a:pt x="96623" y="203011"/>
                  </a:lnTo>
                  <a:lnTo>
                    <a:pt x="97262" y="203011"/>
                  </a:lnTo>
                  <a:lnTo>
                    <a:pt x="97901" y="202372"/>
                  </a:lnTo>
                  <a:cubicBezTo>
                    <a:pt x="99179" y="201734"/>
                    <a:pt x="204613" y="146193"/>
                    <a:pt x="189277" y="20429"/>
                  </a:cubicBezTo>
                  <a:cubicBezTo>
                    <a:pt x="189916" y="17875"/>
                    <a:pt x="188638" y="15960"/>
                    <a:pt x="186721" y="15322"/>
                  </a:cubicBezTo>
                  <a:close/>
                  <a:moveTo>
                    <a:pt x="13554" y="30643"/>
                  </a:moveTo>
                  <a:cubicBezTo>
                    <a:pt x="41669" y="41496"/>
                    <a:pt x="73619" y="35750"/>
                    <a:pt x="95984" y="15322"/>
                  </a:cubicBezTo>
                  <a:cubicBezTo>
                    <a:pt x="104930" y="23621"/>
                    <a:pt x="115154" y="29366"/>
                    <a:pt x="126655" y="32558"/>
                  </a:cubicBezTo>
                  <a:lnTo>
                    <a:pt x="33362" y="125764"/>
                  </a:lnTo>
                  <a:cubicBezTo>
                    <a:pt x="17387" y="96398"/>
                    <a:pt x="10359" y="63201"/>
                    <a:pt x="13554" y="30643"/>
                  </a:cubicBezTo>
                  <a:lnTo>
                    <a:pt x="13554" y="30643"/>
                  </a:lnTo>
                  <a:close/>
                  <a:moveTo>
                    <a:pt x="48059" y="147470"/>
                  </a:moveTo>
                  <a:cubicBezTo>
                    <a:pt x="45503" y="144278"/>
                    <a:pt x="42947" y="140448"/>
                    <a:pt x="40391" y="136617"/>
                  </a:cubicBezTo>
                  <a:lnTo>
                    <a:pt x="141991" y="35112"/>
                  </a:lnTo>
                  <a:cubicBezTo>
                    <a:pt x="148381" y="35750"/>
                    <a:pt x="154771" y="35112"/>
                    <a:pt x="161161" y="34474"/>
                  </a:cubicBezTo>
                  <a:lnTo>
                    <a:pt x="48059" y="147470"/>
                  </a:lnTo>
                  <a:close/>
                  <a:moveTo>
                    <a:pt x="95345" y="189604"/>
                  </a:moveTo>
                  <a:cubicBezTo>
                    <a:pt x="80648" y="180667"/>
                    <a:pt x="67229" y="170452"/>
                    <a:pt x="55727" y="157684"/>
                  </a:cubicBezTo>
                  <a:lnTo>
                    <a:pt x="177775" y="35750"/>
                  </a:lnTo>
                  <a:cubicBezTo>
                    <a:pt x="183526" y="132787"/>
                    <a:pt x="111959" y="180667"/>
                    <a:pt x="95345" y="189604"/>
                  </a:cubicBezTo>
                  <a:lnTo>
                    <a:pt x="95345" y="1896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9473F4-C682-86B7-9425-E5CA02BD49B5}"/>
              </a:ext>
            </a:extLst>
          </p:cNvPr>
          <p:cNvGrpSpPr/>
          <p:nvPr/>
        </p:nvGrpSpPr>
        <p:grpSpPr>
          <a:xfrm>
            <a:off x="3641585" y="3515857"/>
            <a:ext cx="360000" cy="360000"/>
            <a:chOff x="1259689" y="3204739"/>
            <a:chExt cx="360000" cy="36000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0930BC49-6CD6-34AA-6D17-CC23C903BA54}"/>
                </a:ext>
              </a:extLst>
            </p:cNvPr>
            <p:cNvSpPr/>
            <p:nvPr/>
          </p:nvSpPr>
          <p:spPr bwMode="gray">
            <a:xfrm>
              <a:off x="1259689" y="3204739"/>
              <a:ext cx="360000" cy="360000"/>
            </a:xfrm>
            <a:prstGeom prst="ellipse">
              <a:avLst/>
            </a:prstGeom>
            <a:solidFill>
              <a:srgbClr val="DEA72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7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70503E9-2E86-BBFA-8428-C9D387A1613F}"/>
                </a:ext>
              </a:extLst>
            </p:cNvPr>
            <p:cNvSpPr txBox="1"/>
            <p:nvPr/>
          </p:nvSpPr>
          <p:spPr>
            <a:xfrm>
              <a:off x="1299023" y="3261629"/>
              <a:ext cx="28133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s-ES_tradnl" sz="1600" dirty="0">
                  <a:solidFill>
                    <a:schemeClr val="bg1"/>
                  </a:solidFill>
                </a:rPr>
                <a:t>02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B28D0D21-8B65-F97C-92D0-DEF5F0901349}"/>
              </a:ext>
            </a:extLst>
          </p:cNvPr>
          <p:cNvSpPr txBox="1"/>
          <p:nvPr/>
        </p:nvSpPr>
        <p:spPr>
          <a:xfrm>
            <a:off x="2851414" y="4165655"/>
            <a:ext cx="194034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1" dirty="0">
                <a:solidFill>
                  <a:srgbClr val="041E42"/>
                </a:solidFill>
                <a:latin typeface="Trebuchet MS"/>
              </a:rPr>
              <a:t>Características del proceso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0F3AACB7-387D-88A0-0E4D-B360AD76CCCF}"/>
              </a:ext>
            </a:extLst>
          </p:cNvPr>
          <p:cNvCxnSpPr>
            <a:cxnSpLocks/>
          </p:cNvCxnSpPr>
          <p:nvPr/>
        </p:nvCxnSpPr>
        <p:spPr>
          <a:xfrm>
            <a:off x="3579596" y="4766896"/>
            <a:ext cx="48397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BB242CBB-631E-EE95-22AB-2F3DE5CC1A82}"/>
              </a:ext>
            </a:extLst>
          </p:cNvPr>
          <p:cNvSpPr txBox="1"/>
          <p:nvPr/>
        </p:nvSpPr>
        <p:spPr>
          <a:xfrm>
            <a:off x="2747851" y="5014713"/>
            <a:ext cx="214746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50" dirty="0">
                <a:solidFill>
                  <a:srgbClr val="041E42"/>
                </a:solidFill>
                <a:latin typeface="Trebuchet MS"/>
              </a:rPr>
              <a:t>Seguro, gratuito y remoto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50" dirty="0">
                <a:solidFill>
                  <a:srgbClr val="041E42"/>
                </a:solidFill>
                <a:latin typeface="Trebuchet MS"/>
              </a:rPr>
              <a:t>Sin instalación de software.</a:t>
            </a:r>
          </a:p>
        </p:txBody>
      </p:sp>
      <p:grpSp>
        <p:nvGrpSpPr>
          <p:cNvPr id="15" name="Graphic 4">
            <a:extLst>
              <a:ext uri="{FF2B5EF4-FFF2-40B4-BE49-F238E27FC236}">
                <a16:creationId xmlns:a16="http://schemas.microsoft.com/office/drawing/2014/main" id="{82461103-722F-6A16-B6D0-851321D32B03}"/>
              </a:ext>
            </a:extLst>
          </p:cNvPr>
          <p:cNvGrpSpPr/>
          <p:nvPr/>
        </p:nvGrpSpPr>
        <p:grpSpPr>
          <a:xfrm>
            <a:off x="5789862" y="2536411"/>
            <a:ext cx="756000" cy="756000"/>
            <a:chOff x="4661459" y="918179"/>
            <a:chExt cx="361670" cy="361333"/>
          </a:xfrm>
          <a:solidFill>
            <a:srgbClr val="012169"/>
          </a:solidFill>
        </p:grpSpPr>
        <p:sp>
          <p:nvSpPr>
            <p:cNvPr id="16" name="Graphic 4">
              <a:extLst>
                <a:ext uri="{FF2B5EF4-FFF2-40B4-BE49-F238E27FC236}">
                  <a16:creationId xmlns:a16="http://schemas.microsoft.com/office/drawing/2014/main" id="{75ADBBB5-35C0-2319-594E-B5DC9F400B2A}"/>
                </a:ext>
              </a:extLst>
            </p:cNvPr>
            <p:cNvSpPr/>
            <p:nvPr/>
          </p:nvSpPr>
          <p:spPr>
            <a:xfrm>
              <a:off x="4661459" y="918179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3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180835 w 361670"/>
                <a:gd name="connsiteY5" fmla="*/ 349204 h 361333"/>
                <a:gd name="connsiteX6" fmla="*/ 12780 w 361670"/>
                <a:gd name="connsiteY6" fmla="*/ 181305 h 361333"/>
                <a:gd name="connsiteX7" fmla="*/ 180835 w 361670"/>
                <a:gd name="connsiteY7" fmla="*/ 13406 h 361333"/>
                <a:gd name="connsiteX8" fmla="*/ 348890 w 361670"/>
                <a:gd name="connsiteY8" fmla="*/ 181305 h 361333"/>
                <a:gd name="connsiteX9" fmla="*/ 180835 w 361670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257"/>
                    <a:pt x="81152" y="361333"/>
                    <a:pt x="180835" y="361333"/>
                  </a:cubicBezTo>
                  <a:cubicBezTo>
                    <a:pt x="280518" y="361333"/>
                    <a:pt x="361670" y="280257"/>
                    <a:pt x="361670" y="180667"/>
                  </a:cubicBezTo>
                  <a:cubicBezTo>
                    <a:pt x="361670" y="81077"/>
                    <a:pt x="281157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3406"/>
                    <a:pt x="180835" y="13406"/>
                  </a:cubicBezTo>
                  <a:cubicBezTo>
                    <a:pt x="273489" y="13406"/>
                    <a:pt x="348890" y="88737"/>
                    <a:pt x="348890" y="181305"/>
                  </a:cubicBezTo>
                  <a:cubicBezTo>
                    <a:pt x="348890" y="273873"/>
                    <a:pt x="273489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Graphic 4">
              <a:extLst>
                <a:ext uri="{FF2B5EF4-FFF2-40B4-BE49-F238E27FC236}">
                  <a16:creationId xmlns:a16="http://schemas.microsoft.com/office/drawing/2014/main" id="{64879CC9-FE85-C91D-EBDA-3C97A1EBB979}"/>
                </a:ext>
              </a:extLst>
            </p:cNvPr>
            <p:cNvSpPr/>
            <p:nvPr/>
          </p:nvSpPr>
          <p:spPr>
            <a:xfrm>
              <a:off x="4782867" y="1014577"/>
              <a:ext cx="131632" cy="204925"/>
            </a:xfrm>
            <a:custGeom>
              <a:avLst/>
              <a:gdLst>
                <a:gd name="connsiteX0" fmla="*/ 113102 w 131632"/>
                <a:gd name="connsiteY0" fmla="*/ 60009 h 204925"/>
                <a:gd name="connsiteX1" fmla="*/ 106712 w 131632"/>
                <a:gd name="connsiteY1" fmla="*/ 61286 h 204925"/>
                <a:gd name="connsiteX2" fmla="*/ 89459 w 131632"/>
                <a:gd name="connsiteY2" fmla="*/ 47880 h 204925"/>
                <a:gd name="connsiteX3" fmla="*/ 83069 w 131632"/>
                <a:gd name="connsiteY3" fmla="*/ 49157 h 204925"/>
                <a:gd name="connsiteX4" fmla="*/ 65816 w 131632"/>
                <a:gd name="connsiteY4" fmla="*/ 35750 h 204925"/>
                <a:gd name="connsiteX5" fmla="*/ 60066 w 131632"/>
                <a:gd name="connsiteY5" fmla="*/ 37027 h 204925"/>
                <a:gd name="connsiteX6" fmla="*/ 60066 w 131632"/>
                <a:gd name="connsiteY6" fmla="*/ 18514 h 204925"/>
                <a:gd name="connsiteX7" fmla="*/ 41535 w 131632"/>
                <a:gd name="connsiteY7" fmla="*/ 0 h 204925"/>
                <a:gd name="connsiteX8" fmla="*/ 28755 w 131632"/>
                <a:gd name="connsiteY8" fmla="*/ 5746 h 204925"/>
                <a:gd name="connsiteX9" fmla="*/ 23643 w 131632"/>
                <a:gd name="connsiteY9" fmla="*/ 18514 h 204925"/>
                <a:gd name="connsiteX10" fmla="*/ 23643 w 131632"/>
                <a:gd name="connsiteY10" fmla="*/ 64478 h 204925"/>
                <a:gd name="connsiteX11" fmla="*/ 21726 w 131632"/>
                <a:gd name="connsiteY11" fmla="*/ 63201 h 204925"/>
                <a:gd name="connsiteX12" fmla="*/ 7029 w 131632"/>
                <a:gd name="connsiteY12" fmla="*/ 63840 h 204925"/>
                <a:gd name="connsiteX13" fmla="*/ 0 w 131632"/>
                <a:gd name="connsiteY13" fmla="*/ 76608 h 204925"/>
                <a:gd name="connsiteX14" fmla="*/ 0 w 131632"/>
                <a:gd name="connsiteY14" fmla="*/ 120019 h 204925"/>
                <a:gd name="connsiteX15" fmla="*/ 16614 w 131632"/>
                <a:gd name="connsiteY15" fmla="*/ 157046 h 204925"/>
                <a:gd name="connsiteX16" fmla="*/ 30033 w 131632"/>
                <a:gd name="connsiteY16" fmla="*/ 180028 h 204925"/>
                <a:gd name="connsiteX17" fmla="*/ 30033 w 131632"/>
                <a:gd name="connsiteY17" fmla="*/ 197903 h 204925"/>
                <a:gd name="connsiteX18" fmla="*/ 36423 w 131632"/>
                <a:gd name="connsiteY18" fmla="*/ 204287 h 204925"/>
                <a:gd name="connsiteX19" fmla="*/ 42813 w 131632"/>
                <a:gd name="connsiteY19" fmla="*/ 197903 h 204925"/>
                <a:gd name="connsiteX20" fmla="*/ 42813 w 131632"/>
                <a:gd name="connsiteY20" fmla="*/ 180028 h 204925"/>
                <a:gd name="connsiteX21" fmla="*/ 24921 w 131632"/>
                <a:gd name="connsiteY21" fmla="*/ 147470 h 204925"/>
                <a:gd name="connsiteX22" fmla="*/ 12780 w 131632"/>
                <a:gd name="connsiteY22" fmla="*/ 120657 h 204925"/>
                <a:gd name="connsiteX23" fmla="*/ 12780 w 131632"/>
                <a:gd name="connsiteY23" fmla="*/ 77246 h 204925"/>
                <a:gd name="connsiteX24" fmla="*/ 14058 w 131632"/>
                <a:gd name="connsiteY24" fmla="*/ 75331 h 204925"/>
                <a:gd name="connsiteX25" fmla="*/ 16614 w 131632"/>
                <a:gd name="connsiteY25" fmla="*/ 75331 h 204925"/>
                <a:gd name="connsiteX26" fmla="*/ 24282 w 131632"/>
                <a:gd name="connsiteY26" fmla="*/ 90653 h 204925"/>
                <a:gd name="connsiteX27" fmla="*/ 24282 w 131632"/>
                <a:gd name="connsiteY27" fmla="*/ 102782 h 204925"/>
                <a:gd name="connsiteX28" fmla="*/ 30672 w 131632"/>
                <a:gd name="connsiteY28" fmla="*/ 109166 h 204925"/>
                <a:gd name="connsiteX29" fmla="*/ 37062 w 131632"/>
                <a:gd name="connsiteY29" fmla="*/ 102782 h 204925"/>
                <a:gd name="connsiteX30" fmla="*/ 37062 w 131632"/>
                <a:gd name="connsiteY30" fmla="*/ 19790 h 204925"/>
                <a:gd name="connsiteX31" fmla="*/ 38340 w 131632"/>
                <a:gd name="connsiteY31" fmla="*/ 15960 h 204925"/>
                <a:gd name="connsiteX32" fmla="*/ 42173 w 131632"/>
                <a:gd name="connsiteY32" fmla="*/ 14045 h 204925"/>
                <a:gd name="connsiteX33" fmla="*/ 47925 w 131632"/>
                <a:gd name="connsiteY33" fmla="*/ 19790 h 204925"/>
                <a:gd name="connsiteX34" fmla="*/ 47925 w 131632"/>
                <a:gd name="connsiteY34" fmla="*/ 55541 h 204925"/>
                <a:gd name="connsiteX35" fmla="*/ 47925 w 131632"/>
                <a:gd name="connsiteY35" fmla="*/ 55541 h 204925"/>
                <a:gd name="connsiteX36" fmla="*/ 47925 w 131632"/>
                <a:gd name="connsiteY36" fmla="*/ 79161 h 204925"/>
                <a:gd name="connsiteX37" fmla="*/ 54314 w 131632"/>
                <a:gd name="connsiteY37" fmla="*/ 85545 h 204925"/>
                <a:gd name="connsiteX38" fmla="*/ 60704 w 131632"/>
                <a:gd name="connsiteY38" fmla="*/ 79161 h 204925"/>
                <a:gd name="connsiteX39" fmla="*/ 60704 w 131632"/>
                <a:gd name="connsiteY39" fmla="*/ 55541 h 204925"/>
                <a:gd name="connsiteX40" fmla="*/ 61982 w 131632"/>
                <a:gd name="connsiteY40" fmla="*/ 51710 h 204925"/>
                <a:gd name="connsiteX41" fmla="*/ 65816 w 131632"/>
                <a:gd name="connsiteY41" fmla="*/ 49795 h 204925"/>
                <a:gd name="connsiteX42" fmla="*/ 71567 w 131632"/>
                <a:gd name="connsiteY42" fmla="*/ 55541 h 204925"/>
                <a:gd name="connsiteX43" fmla="*/ 71567 w 131632"/>
                <a:gd name="connsiteY43" fmla="*/ 67670 h 204925"/>
                <a:gd name="connsiteX44" fmla="*/ 71567 w 131632"/>
                <a:gd name="connsiteY44" fmla="*/ 67670 h 204925"/>
                <a:gd name="connsiteX45" fmla="*/ 71567 w 131632"/>
                <a:gd name="connsiteY45" fmla="*/ 67670 h 204925"/>
                <a:gd name="connsiteX46" fmla="*/ 71567 w 131632"/>
                <a:gd name="connsiteY46" fmla="*/ 85545 h 204925"/>
                <a:gd name="connsiteX47" fmla="*/ 77957 w 131632"/>
                <a:gd name="connsiteY47" fmla="*/ 91929 h 204925"/>
                <a:gd name="connsiteX48" fmla="*/ 84347 w 131632"/>
                <a:gd name="connsiteY48" fmla="*/ 85545 h 204925"/>
                <a:gd name="connsiteX49" fmla="*/ 84347 w 131632"/>
                <a:gd name="connsiteY49" fmla="*/ 67670 h 204925"/>
                <a:gd name="connsiteX50" fmla="*/ 85625 w 131632"/>
                <a:gd name="connsiteY50" fmla="*/ 63840 h 204925"/>
                <a:gd name="connsiteX51" fmla="*/ 89459 w 131632"/>
                <a:gd name="connsiteY51" fmla="*/ 61925 h 204925"/>
                <a:gd name="connsiteX52" fmla="*/ 95210 w 131632"/>
                <a:gd name="connsiteY52" fmla="*/ 67670 h 204925"/>
                <a:gd name="connsiteX53" fmla="*/ 95210 w 131632"/>
                <a:gd name="connsiteY53" fmla="*/ 79800 h 204925"/>
                <a:gd name="connsiteX54" fmla="*/ 95210 w 131632"/>
                <a:gd name="connsiteY54" fmla="*/ 79800 h 204925"/>
                <a:gd name="connsiteX55" fmla="*/ 95210 w 131632"/>
                <a:gd name="connsiteY55" fmla="*/ 79800 h 204925"/>
                <a:gd name="connsiteX56" fmla="*/ 95210 w 131632"/>
                <a:gd name="connsiteY56" fmla="*/ 95121 h 204925"/>
                <a:gd name="connsiteX57" fmla="*/ 101600 w 131632"/>
                <a:gd name="connsiteY57" fmla="*/ 101505 h 204925"/>
                <a:gd name="connsiteX58" fmla="*/ 107990 w 131632"/>
                <a:gd name="connsiteY58" fmla="*/ 95121 h 204925"/>
                <a:gd name="connsiteX59" fmla="*/ 107990 w 131632"/>
                <a:gd name="connsiteY59" fmla="*/ 79800 h 204925"/>
                <a:gd name="connsiteX60" fmla="*/ 109268 w 131632"/>
                <a:gd name="connsiteY60" fmla="*/ 75969 h 204925"/>
                <a:gd name="connsiteX61" fmla="*/ 113102 w 131632"/>
                <a:gd name="connsiteY61" fmla="*/ 74054 h 204925"/>
                <a:gd name="connsiteX62" fmla="*/ 118853 w 131632"/>
                <a:gd name="connsiteY62" fmla="*/ 79800 h 204925"/>
                <a:gd name="connsiteX63" fmla="*/ 118853 w 131632"/>
                <a:gd name="connsiteY63" fmla="*/ 132148 h 204925"/>
                <a:gd name="connsiteX64" fmla="*/ 114380 w 131632"/>
                <a:gd name="connsiteY64" fmla="*/ 148108 h 204925"/>
                <a:gd name="connsiteX65" fmla="*/ 106712 w 131632"/>
                <a:gd name="connsiteY65" fmla="*/ 174921 h 204925"/>
                <a:gd name="connsiteX66" fmla="*/ 106712 w 131632"/>
                <a:gd name="connsiteY66" fmla="*/ 198542 h 204925"/>
                <a:gd name="connsiteX67" fmla="*/ 113102 w 131632"/>
                <a:gd name="connsiteY67" fmla="*/ 204926 h 204925"/>
                <a:gd name="connsiteX68" fmla="*/ 119492 w 131632"/>
                <a:gd name="connsiteY68" fmla="*/ 198542 h 204925"/>
                <a:gd name="connsiteX69" fmla="*/ 119492 w 131632"/>
                <a:gd name="connsiteY69" fmla="*/ 174921 h 204925"/>
                <a:gd name="connsiteX70" fmla="*/ 125243 w 131632"/>
                <a:gd name="connsiteY70" fmla="*/ 154492 h 204925"/>
                <a:gd name="connsiteX71" fmla="*/ 131633 w 131632"/>
                <a:gd name="connsiteY71" fmla="*/ 131510 h 204925"/>
                <a:gd name="connsiteX72" fmla="*/ 131633 w 131632"/>
                <a:gd name="connsiteY72" fmla="*/ 79161 h 204925"/>
                <a:gd name="connsiteX73" fmla="*/ 113102 w 131632"/>
                <a:gd name="connsiteY73" fmla="*/ 60009 h 20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131632" h="204925">
                  <a:moveTo>
                    <a:pt x="113102" y="60009"/>
                  </a:moveTo>
                  <a:cubicBezTo>
                    <a:pt x="111185" y="60009"/>
                    <a:pt x="108629" y="60648"/>
                    <a:pt x="106712" y="61286"/>
                  </a:cubicBezTo>
                  <a:cubicBezTo>
                    <a:pt x="104156" y="53625"/>
                    <a:pt x="97766" y="47880"/>
                    <a:pt x="89459" y="47880"/>
                  </a:cubicBezTo>
                  <a:cubicBezTo>
                    <a:pt x="87542" y="47880"/>
                    <a:pt x="84986" y="48518"/>
                    <a:pt x="83069" y="49157"/>
                  </a:cubicBezTo>
                  <a:cubicBezTo>
                    <a:pt x="80513" y="41496"/>
                    <a:pt x="74123" y="35750"/>
                    <a:pt x="65816" y="35750"/>
                  </a:cubicBezTo>
                  <a:cubicBezTo>
                    <a:pt x="63899" y="35750"/>
                    <a:pt x="61982" y="36389"/>
                    <a:pt x="60066" y="37027"/>
                  </a:cubicBezTo>
                  <a:lnTo>
                    <a:pt x="60066" y="18514"/>
                  </a:lnTo>
                  <a:cubicBezTo>
                    <a:pt x="60066" y="8299"/>
                    <a:pt x="51758" y="0"/>
                    <a:pt x="41535" y="0"/>
                  </a:cubicBezTo>
                  <a:cubicBezTo>
                    <a:pt x="37062" y="0"/>
                    <a:pt x="31950" y="1915"/>
                    <a:pt x="28755" y="5746"/>
                  </a:cubicBezTo>
                  <a:cubicBezTo>
                    <a:pt x="25560" y="8938"/>
                    <a:pt x="23643" y="14045"/>
                    <a:pt x="23643" y="18514"/>
                  </a:cubicBezTo>
                  <a:lnTo>
                    <a:pt x="23643" y="64478"/>
                  </a:lnTo>
                  <a:cubicBezTo>
                    <a:pt x="23004" y="63840"/>
                    <a:pt x="22365" y="63840"/>
                    <a:pt x="21726" y="63201"/>
                  </a:cubicBezTo>
                  <a:cubicBezTo>
                    <a:pt x="17253" y="60648"/>
                    <a:pt x="11502" y="61286"/>
                    <a:pt x="7029" y="63840"/>
                  </a:cubicBezTo>
                  <a:cubicBezTo>
                    <a:pt x="2556" y="66393"/>
                    <a:pt x="0" y="71501"/>
                    <a:pt x="0" y="76608"/>
                  </a:cubicBezTo>
                  <a:lnTo>
                    <a:pt x="0" y="120019"/>
                  </a:lnTo>
                  <a:cubicBezTo>
                    <a:pt x="0" y="134064"/>
                    <a:pt x="6390" y="147470"/>
                    <a:pt x="16614" y="157046"/>
                  </a:cubicBezTo>
                  <a:cubicBezTo>
                    <a:pt x="23643" y="163430"/>
                    <a:pt x="30033" y="168537"/>
                    <a:pt x="30033" y="180028"/>
                  </a:cubicBezTo>
                  <a:lnTo>
                    <a:pt x="30033" y="197903"/>
                  </a:lnTo>
                  <a:cubicBezTo>
                    <a:pt x="30033" y="201734"/>
                    <a:pt x="32589" y="204287"/>
                    <a:pt x="36423" y="204287"/>
                  </a:cubicBezTo>
                  <a:cubicBezTo>
                    <a:pt x="40257" y="204287"/>
                    <a:pt x="42813" y="201734"/>
                    <a:pt x="42813" y="197903"/>
                  </a:cubicBezTo>
                  <a:lnTo>
                    <a:pt x="42813" y="180028"/>
                  </a:lnTo>
                  <a:cubicBezTo>
                    <a:pt x="42813" y="163430"/>
                    <a:pt x="33228" y="154492"/>
                    <a:pt x="24921" y="147470"/>
                  </a:cubicBezTo>
                  <a:cubicBezTo>
                    <a:pt x="22365" y="144916"/>
                    <a:pt x="12780" y="135979"/>
                    <a:pt x="12780" y="120657"/>
                  </a:cubicBezTo>
                  <a:lnTo>
                    <a:pt x="12780" y="77246"/>
                  </a:lnTo>
                  <a:cubicBezTo>
                    <a:pt x="12780" y="75969"/>
                    <a:pt x="13419" y="75969"/>
                    <a:pt x="14058" y="75331"/>
                  </a:cubicBezTo>
                  <a:cubicBezTo>
                    <a:pt x="14697" y="75331"/>
                    <a:pt x="15336" y="74693"/>
                    <a:pt x="16614" y="75331"/>
                  </a:cubicBezTo>
                  <a:cubicBezTo>
                    <a:pt x="21726" y="77885"/>
                    <a:pt x="24282" y="82992"/>
                    <a:pt x="24282" y="90653"/>
                  </a:cubicBezTo>
                  <a:lnTo>
                    <a:pt x="24282" y="102782"/>
                  </a:lnTo>
                  <a:cubicBezTo>
                    <a:pt x="24282" y="106612"/>
                    <a:pt x="26838" y="109166"/>
                    <a:pt x="30672" y="109166"/>
                  </a:cubicBezTo>
                  <a:cubicBezTo>
                    <a:pt x="34506" y="109166"/>
                    <a:pt x="37062" y="106612"/>
                    <a:pt x="37062" y="102782"/>
                  </a:cubicBezTo>
                  <a:lnTo>
                    <a:pt x="37062" y="19790"/>
                  </a:lnTo>
                  <a:cubicBezTo>
                    <a:pt x="37062" y="17875"/>
                    <a:pt x="37701" y="16598"/>
                    <a:pt x="38340" y="15960"/>
                  </a:cubicBezTo>
                  <a:cubicBezTo>
                    <a:pt x="39618" y="14683"/>
                    <a:pt x="40896" y="14045"/>
                    <a:pt x="42173" y="14045"/>
                  </a:cubicBezTo>
                  <a:cubicBezTo>
                    <a:pt x="44730" y="14045"/>
                    <a:pt x="47925" y="16598"/>
                    <a:pt x="47925" y="19790"/>
                  </a:cubicBezTo>
                  <a:lnTo>
                    <a:pt x="47925" y="55541"/>
                  </a:lnTo>
                  <a:cubicBezTo>
                    <a:pt x="47925" y="55541"/>
                    <a:pt x="47925" y="55541"/>
                    <a:pt x="47925" y="55541"/>
                  </a:cubicBezTo>
                  <a:lnTo>
                    <a:pt x="47925" y="79161"/>
                  </a:lnTo>
                  <a:cubicBezTo>
                    <a:pt x="47925" y="82992"/>
                    <a:pt x="50481" y="85545"/>
                    <a:pt x="54314" y="85545"/>
                  </a:cubicBezTo>
                  <a:cubicBezTo>
                    <a:pt x="58148" y="85545"/>
                    <a:pt x="60704" y="82992"/>
                    <a:pt x="60704" y="79161"/>
                  </a:cubicBezTo>
                  <a:lnTo>
                    <a:pt x="60704" y="55541"/>
                  </a:lnTo>
                  <a:cubicBezTo>
                    <a:pt x="60704" y="53625"/>
                    <a:pt x="61343" y="52349"/>
                    <a:pt x="61982" y="51710"/>
                  </a:cubicBezTo>
                  <a:cubicBezTo>
                    <a:pt x="63261" y="50433"/>
                    <a:pt x="64538" y="49795"/>
                    <a:pt x="65816" y="49795"/>
                  </a:cubicBezTo>
                  <a:cubicBezTo>
                    <a:pt x="68372" y="49795"/>
                    <a:pt x="71567" y="52349"/>
                    <a:pt x="71567" y="55541"/>
                  </a:cubicBezTo>
                  <a:lnTo>
                    <a:pt x="71567" y="67670"/>
                  </a:lnTo>
                  <a:cubicBezTo>
                    <a:pt x="71567" y="67670"/>
                    <a:pt x="71567" y="67670"/>
                    <a:pt x="71567" y="67670"/>
                  </a:cubicBezTo>
                  <a:cubicBezTo>
                    <a:pt x="71567" y="67670"/>
                    <a:pt x="71567" y="67670"/>
                    <a:pt x="71567" y="67670"/>
                  </a:cubicBezTo>
                  <a:lnTo>
                    <a:pt x="71567" y="85545"/>
                  </a:lnTo>
                  <a:cubicBezTo>
                    <a:pt x="71567" y="89376"/>
                    <a:pt x="74123" y="91929"/>
                    <a:pt x="77957" y="91929"/>
                  </a:cubicBezTo>
                  <a:cubicBezTo>
                    <a:pt x="81791" y="91929"/>
                    <a:pt x="84347" y="89376"/>
                    <a:pt x="84347" y="85545"/>
                  </a:cubicBezTo>
                  <a:lnTo>
                    <a:pt x="84347" y="67670"/>
                  </a:lnTo>
                  <a:cubicBezTo>
                    <a:pt x="84347" y="65755"/>
                    <a:pt x="84986" y="64478"/>
                    <a:pt x="85625" y="63840"/>
                  </a:cubicBezTo>
                  <a:cubicBezTo>
                    <a:pt x="86903" y="62563"/>
                    <a:pt x="88181" y="61925"/>
                    <a:pt x="89459" y="61925"/>
                  </a:cubicBezTo>
                  <a:cubicBezTo>
                    <a:pt x="92015" y="61925"/>
                    <a:pt x="95210" y="64478"/>
                    <a:pt x="95210" y="67670"/>
                  </a:cubicBezTo>
                  <a:lnTo>
                    <a:pt x="95210" y="79800"/>
                  </a:lnTo>
                  <a:cubicBezTo>
                    <a:pt x="95210" y="79800"/>
                    <a:pt x="95210" y="79800"/>
                    <a:pt x="95210" y="79800"/>
                  </a:cubicBezTo>
                  <a:cubicBezTo>
                    <a:pt x="95210" y="79800"/>
                    <a:pt x="95210" y="79800"/>
                    <a:pt x="95210" y="79800"/>
                  </a:cubicBezTo>
                  <a:lnTo>
                    <a:pt x="95210" y="95121"/>
                  </a:lnTo>
                  <a:cubicBezTo>
                    <a:pt x="95210" y="98952"/>
                    <a:pt x="97766" y="101505"/>
                    <a:pt x="101600" y="101505"/>
                  </a:cubicBezTo>
                  <a:cubicBezTo>
                    <a:pt x="105434" y="101505"/>
                    <a:pt x="107990" y="98952"/>
                    <a:pt x="107990" y="95121"/>
                  </a:cubicBezTo>
                  <a:lnTo>
                    <a:pt x="107990" y="79800"/>
                  </a:lnTo>
                  <a:cubicBezTo>
                    <a:pt x="107990" y="77885"/>
                    <a:pt x="108629" y="76608"/>
                    <a:pt x="109268" y="75969"/>
                  </a:cubicBezTo>
                  <a:cubicBezTo>
                    <a:pt x="110546" y="74693"/>
                    <a:pt x="111824" y="74054"/>
                    <a:pt x="113102" y="74054"/>
                  </a:cubicBezTo>
                  <a:cubicBezTo>
                    <a:pt x="115658" y="74054"/>
                    <a:pt x="118853" y="76608"/>
                    <a:pt x="118853" y="79800"/>
                  </a:cubicBezTo>
                  <a:lnTo>
                    <a:pt x="118853" y="132148"/>
                  </a:lnTo>
                  <a:cubicBezTo>
                    <a:pt x="118853" y="137894"/>
                    <a:pt x="117575" y="143640"/>
                    <a:pt x="114380" y="148108"/>
                  </a:cubicBezTo>
                  <a:cubicBezTo>
                    <a:pt x="107351" y="160238"/>
                    <a:pt x="106712" y="164068"/>
                    <a:pt x="106712" y="174921"/>
                  </a:cubicBezTo>
                  <a:lnTo>
                    <a:pt x="106712" y="198542"/>
                  </a:lnTo>
                  <a:cubicBezTo>
                    <a:pt x="106712" y="202372"/>
                    <a:pt x="109268" y="204926"/>
                    <a:pt x="113102" y="204926"/>
                  </a:cubicBezTo>
                  <a:cubicBezTo>
                    <a:pt x="116936" y="204926"/>
                    <a:pt x="119492" y="202372"/>
                    <a:pt x="119492" y="198542"/>
                  </a:cubicBezTo>
                  <a:lnTo>
                    <a:pt x="119492" y="174921"/>
                  </a:lnTo>
                  <a:cubicBezTo>
                    <a:pt x="119492" y="165984"/>
                    <a:pt x="119492" y="164068"/>
                    <a:pt x="125243" y="154492"/>
                  </a:cubicBezTo>
                  <a:cubicBezTo>
                    <a:pt x="129077" y="148108"/>
                    <a:pt x="131633" y="139809"/>
                    <a:pt x="131633" y="131510"/>
                  </a:cubicBezTo>
                  <a:lnTo>
                    <a:pt x="131633" y="79161"/>
                  </a:lnTo>
                  <a:cubicBezTo>
                    <a:pt x="131633" y="68309"/>
                    <a:pt x="123326" y="60009"/>
                    <a:pt x="113102" y="6000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Graphic 4">
              <a:extLst>
                <a:ext uri="{FF2B5EF4-FFF2-40B4-BE49-F238E27FC236}">
                  <a16:creationId xmlns:a16="http://schemas.microsoft.com/office/drawing/2014/main" id="{D9128ABE-BDBE-3496-A72C-D2E1B7804E48}"/>
                </a:ext>
              </a:extLst>
            </p:cNvPr>
            <p:cNvSpPr/>
            <p:nvPr/>
          </p:nvSpPr>
          <p:spPr>
            <a:xfrm>
              <a:off x="4770088" y="978827"/>
              <a:ext cx="107990" cy="88737"/>
            </a:xfrm>
            <a:custGeom>
              <a:avLst/>
              <a:gdLst>
                <a:gd name="connsiteX0" fmla="*/ 19809 w 107990"/>
                <a:gd name="connsiteY0" fmla="*/ 87461 h 88737"/>
                <a:gd name="connsiteX1" fmla="*/ 21087 w 107990"/>
                <a:gd name="connsiteY1" fmla="*/ 78523 h 88737"/>
                <a:gd name="connsiteX2" fmla="*/ 13419 w 107990"/>
                <a:gd name="connsiteY2" fmla="*/ 54264 h 88737"/>
                <a:gd name="connsiteX3" fmla="*/ 54953 w 107990"/>
                <a:gd name="connsiteY3" fmla="*/ 12768 h 88737"/>
                <a:gd name="connsiteX4" fmla="*/ 95849 w 107990"/>
                <a:gd name="connsiteY4" fmla="*/ 54264 h 88737"/>
                <a:gd name="connsiteX5" fmla="*/ 95210 w 107990"/>
                <a:gd name="connsiteY5" fmla="*/ 60648 h 88737"/>
                <a:gd name="connsiteX6" fmla="*/ 100322 w 107990"/>
                <a:gd name="connsiteY6" fmla="*/ 67670 h 88737"/>
                <a:gd name="connsiteX7" fmla="*/ 107351 w 107990"/>
                <a:gd name="connsiteY7" fmla="*/ 62563 h 88737"/>
                <a:gd name="connsiteX8" fmla="*/ 107990 w 107990"/>
                <a:gd name="connsiteY8" fmla="*/ 54264 h 88737"/>
                <a:gd name="connsiteX9" fmla="*/ 54314 w 107990"/>
                <a:gd name="connsiteY9" fmla="*/ 0 h 88737"/>
                <a:gd name="connsiteX10" fmla="*/ 0 w 107990"/>
                <a:gd name="connsiteY10" fmla="*/ 54264 h 88737"/>
                <a:gd name="connsiteX11" fmla="*/ 10224 w 107990"/>
                <a:gd name="connsiteY11" fmla="*/ 86184 h 88737"/>
                <a:gd name="connsiteX12" fmla="*/ 15336 w 107990"/>
                <a:gd name="connsiteY12" fmla="*/ 88737 h 88737"/>
                <a:gd name="connsiteX13" fmla="*/ 19809 w 107990"/>
                <a:gd name="connsiteY13" fmla="*/ 87461 h 8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990" h="88737">
                  <a:moveTo>
                    <a:pt x="19809" y="87461"/>
                  </a:moveTo>
                  <a:cubicBezTo>
                    <a:pt x="22365" y="85545"/>
                    <a:pt x="23004" y="81715"/>
                    <a:pt x="21087" y="78523"/>
                  </a:cubicBezTo>
                  <a:cubicBezTo>
                    <a:pt x="15975" y="71501"/>
                    <a:pt x="13419" y="63201"/>
                    <a:pt x="13419" y="54264"/>
                  </a:cubicBezTo>
                  <a:cubicBezTo>
                    <a:pt x="13419" y="31282"/>
                    <a:pt x="31950" y="12768"/>
                    <a:pt x="54953" y="12768"/>
                  </a:cubicBezTo>
                  <a:cubicBezTo>
                    <a:pt x="77957" y="12768"/>
                    <a:pt x="95849" y="31282"/>
                    <a:pt x="95849" y="54264"/>
                  </a:cubicBezTo>
                  <a:cubicBezTo>
                    <a:pt x="95849" y="56179"/>
                    <a:pt x="95849" y="58733"/>
                    <a:pt x="95210" y="60648"/>
                  </a:cubicBezTo>
                  <a:cubicBezTo>
                    <a:pt x="94571" y="63840"/>
                    <a:pt x="97127" y="67670"/>
                    <a:pt x="100322" y="67670"/>
                  </a:cubicBezTo>
                  <a:cubicBezTo>
                    <a:pt x="103517" y="68309"/>
                    <a:pt x="107351" y="65755"/>
                    <a:pt x="107351" y="62563"/>
                  </a:cubicBezTo>
                  <a:cubicBezTo>
                    <a:pt x="107990" y="60009"/>
                    <a:pt x="107990" y="56818"/>
                    <a:pt x="107990" y="54264"/>
                  </a:cubicBezTo>
                  <a:cubicBezTo>
                    <a:pt x="107990" y="24259"/>
                    <a:pt x="83708" y="0"/>
                    <a:pt x="54314" y="0"/>
                  </a:cubicBezTo>
                  <a:cubicBezTo>
                    <a:pt x="24282" y="0"/>
                    <a:pt x="0" y="24259"/>
                    <a:pt x="0" y="54264"/>
                  </a:cubicBezTo>
                  <a:cubicBezTo>
                    <a:pt x="0" y="65755"/>
                    <a:pt x="3834" y="76608"/>
                    <a:pt x="10224" y="86184"/>
                  </a:cubicBezTo>
                  <a:cubicBezTo>
                    <a:pt x="11502" y="88099"/>
                    <a:pt x="13419" y="88737"/>
                    <a:pt x="15336" y="88737"/>
                  </a:cubicBezTo>
                  <a:cubicBezTo>
                    <a:pt x="17253" y="88737"/>
                    <a:pt x="18531" y="88737"/>
                    <a:pt x="19809" y="8746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3380F47-ABD3-B073-1E29-DD0DC90ED470}"/>
              </a:ext>
            </a:extLst>
          </p:cNvPr>
          <p:cNvGrpSpPr/>
          <p:nvPr/>
        </p:nvGrpSpPr>
        <p:grpSpPr>
          <a:xfrm>
            <a:off x="5987862" y="3515857"/>
            <a:ext cx="360000" cy="360000"/>
            <a:chOff x="1259689" y="3204739"/>
            <a:chExt cx="360000" cy="36000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7E5159DB-DE46-8C54-50C0-AF78833B624E}"/>
                </a:ext>
              </a:extLst>
            </p:cNvPr>
            <p:cNvSpPr/>
            <p:nvPr/>
          </p:nvSpPr>
          <p:spPr bwMode="gray">
            <a:xfrm>
              <a:off x="1259689" y="3204739"/>
              <a:ext cx="360000" cy="360000"/>
            </a:xfrm>
            <a:prstGeom prst="ellipse">
              <a:avLst/>
            </a:prstGeom>
            <a:solidFill>
              <a:srgbClr val="DEA72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7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C2D0DFD-E729-0AF1-4CA7-B3538CC543BB}"/>
                </a:ext>
              </a:extLst>
            </p:cNvPr>
            <p:cNvSpPr txBox="1"/>
            <p:nvPr/>
          </p:nvSpPr>
          <p:spPr>
            <a:xfrm>
              <a:off x="1299023" y="3261629"/>
              <a:ext cx="28133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s-ES_tradnl" sz="1600" dirty="0">
                  <a:solidFill>
                    <a:schemeClr val="bg1"/>
                  </a:solidFill>
                </a:rPr>
                <a:t>03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590B3FFE-2E34-E02B-C8B5-8A48223050C5}"/>
              </a:ext>
            </a:extLst>
          </p:cNvPr>
          <p:cNvSpPr txBox="1"/>
          <p:nvPr/>
        </p:nvSpPr>
        <p:spPr>
          <a:xfrm>
            <a:off x="5197691" y="4165655"/>
            <a:ext cx="194034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1" dirty="0">
                <a:solidFill>
                  <a:srgbClr val="041E42"/>
                </a:solidFill>
                <a:latin typeface="Trebuchet MS"/>
              </a:rPr>
              <a:t>Verificación de identidad digital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2647E21-4995-C69E-C2A7-4EE607A13DFC}"/>
              </a:ext>
            </a:extLst>
          </p:cNvPr>
          <p:cNvCxnSpPr>
            <a:cxnSpLocks/>
          </p:cNvCxnSpPr>
          <p:nvPr/>
        </p:nvCxnSpPr>
        <p:spPr>
          <a:xfrm>
            <a:off x="5925873" y="4766896"/>
            <a:ext cx="48397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65385498-8189-8112-67A5-4046C8F8485A}"/>
              </a:ext>
            </a:extLst>
          </p:cNvPr>
          <p:cNvSpPr txBox="1"/>
          <p:nvPr/>
        </p:nvSpPr>
        <p:spPr>
          <a:xfrm>
            <a:off x="5197691" y="5014713"/>
            <a:ext cx="194034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050" dirty="0">
                <a:solidFill>
                  <a:srgbClr val="041E42"/>
                </a:solidFill>
                <a:latin typeface="Trebuchet MS"/>
              </a:rPr>
              <a:t>Validación de identidad a través de datos, documento, biometría y vídeo.</a:t>
            </a:r>
          </a:p>
        </p:txBody>
      </p:sp>
      <p:grpSp>
        <p:nvGrpSpPr>
          <p:cNvPr id="19" name="Graphic 4">
            <a:extLst>
              <a:ext uri="{FF2B5EF4-FFF2-40B4-BE49-F238E27FC236}">
                <a16:creationId xmlns:a16="http://schemas.microsoft.com/office/drawing/2014/main" id="{33EEC6B6-0342-0905-1916-937831D5CE9A}"/>
              </a:ext>
            </a:extLst>
          </p:cNvPr>
          <p:cNvGrpSpPr/>
          <p:nvPr/>
        </p:nvGrpSpPr>
        <p:grpSpPr>
          <a:xfrm>
            <a:off x="8032576" y="2536411"/>
            <a:ext cx="756000" cy="756000"/>
            <a:chOff x="467743" y="1893013"/>
            <a:chExt cx="361670" cy="362610"/>
          </a:xfrm>
          <a:solidFill>
            <a:srgbClr val="012169"/>
          </a:solidFill>
        </p:grpSpPr>
        <p:sp>
          <p:nvSpPr>
            <p:cNvPr id="20" name="Graphic 4">
              <a:extLst>
                <a:ext uri="{FF2B5EF4-FFF2-40B4-BE49-F238E27FC236}">
                  <a16:creationId xmlns:a16="http://schemas.microsoft.com/office/drawing/2014/main" id="{B2636723-440B-1B9E-3549-23322F4D4F2B}"/>
                </a:ext>
              </a:extLst>
            </p:cNvPr>
            <p:cNvSpPr/>
            <p:nvPr/>
          </p:nvSpPr>
          <p:spPr>
            <a:xfrm>
              <a:off x="467743" y="1893013"/>
              <a:ext cx="361670" cy="362610"/>
            </a:xfrm>
            <a:custGeom>
              <a:avLst/>
              <a:gdLst>
                <a:gd name="connsiteX0" fmla="*/ 180835 w 361670"/>
                <a:gd name="connsiteY0" fmla="*/ 0 h 362610"/>
                <a:gd name="connsiteX1" fmla="*/ 0 w 361670"/>
                <a:gd name="connsiteY1" fmla="*/ 181305 h 362610"/>
                <a:gd name="connsiteX2" fmla="*/ 180835 w 361670"/>
                <a:gd name="connsiteY2" fmla="*/ 362610 h 362610"/>
                <a:gd name="connsiteX3" fmla="*/ 361670 w 361670"/>
                <a:gd name="connsiteY3" fmla="*/ 181305 h 362610"/>
                <a:gd name="connsiteX4" fmla="*/ 361670 w 361670"/>
                <a:gd name="connsiteY4" fmla="*/ 181305 h 362610"/>
                <a:gd name="connsiteX5" fmla="*/ 180835 w 361670"/>
                <a:gd name="connsiteY5" fmla="*/ 0 h 362610"/>
                <a:gd name="connsiteX6" fmla="*/ 180835 w 361670"/>
                <a:gd name="connsiteY6" fmla="*/ 0 h 362610"/>
                <a:gd name="connsiteX7" fmla="*/ 180835 w 361670"/>
                <a:gd name="connsiteY7" fmla="*/ 349204 h 362610"/>
                <a:gd name="connsiteX8" fmla="*/ 12780 w 361670"/>
                <a:gd name="connsiteY8" fmla="*/ 180667 h 362610"/>
                <a:gd name="connsiteX9" fmla="*/ 180835 w 361670"/>
                <a:gd name="connsiteY9" fmla="*/ 12130 h 362610"/>
                <a:gd name="connsiteX10" fmla="*/ 348891 w 361670"/>
                <a:gd name="connsiteY10" fmla="*/ 180667 h 362610"/>
                <a:gd name="connsiteX11" fmla="*/ 180835 w 361670"/>
                <a:gd name="connsiteY11" fmla="*/ 349204 h 36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1670" h="362610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2610"/>
                    <a:pt x="180835" y="362610"/>
                  </a:cubicBezTo>
                  <a:cubicBezTo>
                    <a:pt x="280518" y="362610"/>
                    <a:pt x="361670" y="281534"/>
                    <a:pt x="361670" y="181305"/>
                  </a:cubicBezTo>
                  <a:cubicBezTo>
                    <a:pt x="361670" y="181305"/>
                    <a:pt x="361670" y="181305"/>
                    <a:pt x="361670" y="181305"/>
                  </a:cubicBezTo>
                  <a:cubicBezTo>
                    <a:pt x="361670" y="81077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7542" y="349204"/>
                    <a:pt x="12780" y="273873"/>
                    <a:pt x="12780" y="180667"/>
                  </a:cubicBezTo>
                  <a:cubicBezTo>
                    <a:pt x="12780" y="87461"/>
                    <a:pt x="88181" y="12130"/>
                    <a:pt x="180835" y="12130"/>
                  </a:cubicBezTo>
                  <a:cubicBezTo>
                    <a:pt x="273489" y="12130"/>
                    <a:pt x="348891" y="87461"/>
                    <a:pt x="348891" y="180667"/>
                  </a:cubicBezTo>
                  <a:cubicBezTo>
                    <a:pt x="348891" y="273873"/>
                    <a:pt x="273489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Graphic 4">
              <a:extLst>
                <a:ext uri="{FF2B5EF4-FFF2-40B4-BE49-F238E27FC236}">
                  <a16:creationId xmlns:a16="http://schemas.microsoft.com/office/drawing/2014/main" id="{5158FAB2-CC4F-BFB8-1F13-761FE193421B}"/>
                </a:ext>
              </a:extLst>
            </p:cNvPr>
            <p:cNvSpPr/>
            <p:nvPr/>
          </p:nvSpPr>
          <p:spPr>
            <a:xfrm>
              <a:off x="577011" y="1974044"/>
              <a:ext cx="143773" cy="197310"/>
            </a:xfrm>
            <a:custGeom>
              <a:avLst/>
              <a:gdLst>
                <a:gd name="connsiteX0" fmla="*/ 136745 w 143773"/>
                <a:gd name="connsiteY0" fmla="*/ 93252 h 197310"/>
                <a:gd name="connsiteX1" fmla="*/ 130355 w 143773"/>
                <a:gd name="connsiteY1" fmla="*/ 93252 h 197310"/>
                <a:gd name="connsiteX2" fmla="*/ 130355 w 143773"/>
                <a:gd name="connsiteY2" fmla="*/ 60694 h 197310"/>
                <a:gd name="connsiteX3" fmla="*/ 73484 w 143773"/>
                <a:gd name="connsiteY3" fmla="*/ 46 h 197310"/>
                <a:gd name="connsiteX4" fmla="*/ 12780 w 143773"/>
                <a:gd name="connsiteY4" fmla="*/ 56863 h 197310"/>
                <a:gd name="connsiteX5" fmla="*/ 12780 w 143773"/>
                <a:gd name="connsiteY5" fmla="*/ 60694 h 197310"/>
                <a:gd name="connsiteX6" fmla="*/ 12780 w 143773"/>
                <a:gd name="connsiteY6" fmla="*/ 93252 h 197310"/>
                <a:gd name="connsiteX7" fmla="*/ 6390 w 143773"/>
                <a:gd name="connsiteY7" fmla="*/ 93252 h 197310"/>
                <a:gd name="connsiteX8" fmla="*/ 0 w 143773"/>
                <a:gd name="connsiteY8" fmla="*/ 99636 h 197310"/>
                <a:gd name="connsiteX9" fmla="*/ 0 w 143773"/>
                <a:gd name="connsiteY9" fmla="*/ 190927 h 197310"/>
                <a:gd name="connsiteX10" fmla="*/ 6390 w 143773"/>
                <a:gd name="connsiteY10" fmla="*/ 197311 h 197310"/>
                <a:gd name="connsiteX11" fmla="*/ 137384 w 143773"/>
                <a:gd name="connsiteY11" fmla="*/ 197311 h 197310"/>
                <a:gd name="connsiteX12" fmla="*/ 143774 w 143773"/>
                <a:gd name="connsiteY12" fmla="*/ 190927 h 197310"/>
                <a:gd name="connsiteX13" fmla="*/ 143774 w 143773"/>
                <a:gd name="connsiteY13" fmla="*/ 99636 h 197310"/>
                <a:gd name="connsiteX14" fmla="*/ 137384 w 143773"/>
                <a:gd name="connsiteY14" fmla="*/ 93252 h 197310"/>
                <a:gd name="connsiteX15" fmla="*/ 136745 w 143773"/>
                <a:gd name="connsiteY15" fmla="*/ 93252 h 197310"/>
                <a:gd name="connsiteX16" fmla="*/ 25560 w 143773"/>
                <a:gd name="connsiteY16" fmla="*/ 60694 h 197310"/>
                <a:gd name="connsiteX17" fmla="*/ 69650 w 143773"/>
                <a:gd name="connsiteY17" fmla="*/ 13452 h 197310"/>
                <a:gd name="connsiteX18" fmla="*/ 116936 w 143773"/>
                <a:gd name="connsiteY18" fmla="*/ 57502 h 197310"/>
                <a:gd name="connsiteX19" fmla="*/ 116936 w 143773"/>
                <a:gd name="connsiteY19" fmla="*/ 60694 h 197310"/>
                <a:gd name="connsiteX20" fmla="*/ 116936 w 143773"/>
                <a:gd name="connsiteY20" fmla="*/ 93252 h 197310"/>
                <a:gd name="connsiteX21" fmla="*/ 25560 w 143773"/>
                <a:gd name="connsiteY21" fmla="*/ 93252 h 197310"/>
                <a:gd name="connsiteX22" fmla="*/ 25560 w 143773"/>
                <a:gd name="connsiteY22" fmla="*/ 60694 h 197310"/>
                <a:gd name="connsiteX23" fmla="*/ 130355 w 143773"/>
                <a:gd name="connsiteY23" fmla="*/ 184543 h 197310"/>
                <a:gd name="connsiteX24" fmla="*/ 12780 w 143773"/>
                <a:gd name="connsiteY24" fmla="*/ 184543 h 197310"/>
                <a:gd name="connsiteX25" fmla="*/ 12780 w 143773"/>
                <a:gd name="connsiteY25" fmla="*/ 106020 h 197310"/>
                <a:gd name="connsiteX26" fmla="*/ 130994 w 143773"/>
                <a:gd name="connsiteY26" fmla="*/ 106020 h 197310"/>
                <a:gd name="connsiteX27" fmla="*/ 130994 w 143773"/>
                <a:gd name="connsiteY27" fmla="*/ 184543 h 197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43773" h="197310">
                  <a:moveTo>
                    <a:pt x="136745" y="93252"/>
                  </a:moveTo>
                  <a:lnTo>
                    <a:pt x="130355" y="93252"/>
                  </a:lnTo>
                  <a:lnTo>
                    <a:pt x="130355" y="60694"/>
                  </a:lnTo>
                  <a:cubicBezTo>
                    <a:pt x="131633" y="28135"/>
                    <a:pt x="106073" y="1323"/>
                    <a:pt x="73484" y="46"/>
                  </a:cubicBezTo>
                  <a:cubicBezTo>
                    <a:pt x="40896" y="-1231"/>
                    <a:pt x="14058" y="24305"/>
                    <a:pt x="12780" y="56863"/>
                  </a:cubicBezTo>
                  <a:cubicBezTo>
                    <a:pt x="12780" y="58140"/>
                    <a:pt x="12780" y="59417"/>
                    <a:pt x="12780" y="60694"/>
                  </a:cubicBezTo>
                  <a:lnTo>
                    <a:pt x="12780" y="93252"/>
                  </a:lnTo>
                  <a:lnTo>
                    <a:pt x="6390" y="93252"/>
                  </a:lnTo>
                  <a:cubicBezTo>
                    <a:pt x="2556" y="93252"/>
                    <a:pt x="0" y="95806"/>
                    <a:pt x="0" y="99636"/>
                  </a:cubicBezTo>
                  <a:lnTo>
                    <a:pt x="0" y="190927"/>
                  </a:lnTo>
                  <a:cubicBezTo>
                    <a:pt x="0" y="194757"/>
                    <a:pt x="2556" y="197311"/>
                    <a:pt x="6390" y="197311"/>
                  </a:cubicBezTo>
                  <a:lnTo>
                    <a:pt x="137384" y="197311"/>
                  </a:lnTo>
                  <a:cubicBezTo>
                    <a:pt x="141218" y="197311"/>
                    <a:pt x="143774" y="194757"/>
                    <a:pt x="143774" y="190927"/>
                  </a:cubicBezTo>
                  <a:lnTo>
                    <a:pt x="143774" y="99636"/>
                  </a:lnTo>
                  <a:cubicBezTo>
                    <a:pt x="143774" y="95806"/>
                    <a:pt x="141218" y="93252"/>
                    <a:pt x="137384" y="93252"/>
                  </a:cubicBezTo>
                  <a:cubicBezTo>
                    <a:pt x="137384" y="93252"/>
                    <a:pt x="137384" y="93252"/>
                    <a:pt x="136745" y="93252"/>
                  </a:cubicBezTo>
                  <a:close/>
                  <a:moveTo>
                    <a:pt x="25560" y="60694"/>
                  </a:moveTo>
                  <a:cubicBezTo>
                    <a:pt x="24921" y="35158"/>
                    <a:pt x="44091" y="14091"/>
                    <a:pt x="69650" y="13452"/>
                  </a:cubicBezTo>
                  <a:cubicBezTo>
                    <a:pt x="95210" y="12814"/>
                    <a:pt x="116297" y="31966"/>
                    <a:pt x="116936" y="57502"/>
                  </a:cubicBezTo>
                  <a:cubicBezTo>
                    <a:pt x="116936" y="58778"/>
                    <a:pt x="116936" y="60055"/>
                    <a:pt x="116936" y="60694"/>
                  </a:cubicBezTo>
                  <a:lnTo>
                    <a:pt x="116936" y="93252"/>
                  </a:lnTo>
                  <a:lnTo>
                    <a:pt x="25560" y="93252"/>
                  </a:lnTo>
                  <a:lnTo>
                    <a:pt x="25560" y="60694"/>
                  </a:lnTo>
                  <a:close/>
                  <a:moveTo>
                    <a:pt x="130355" y="184543"/>
                  </a:moveTo>
                  <a:lnTo>
                    <a:pt x="12780" y="184543"/>
                  </a:lnTo>
                  <a:lnTo>
                    <a:pt x="12780" y="106020"/>
                  </a:lnTo>
                  <a:lnTo>
                    <a:pt x="130994" y="106020"/>
                  </a:lnTo>
                  <a:lnTo>
                    <a:pt x="130994" y="18454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EA4DB69-2279-348D-E840-562D6C1B9184}"/>
              </a:ext>
            </a:extLst>
          </p:cNvPr>
          <p:cNvGrpSpPr/>
          <p:nvPr/>
        </p:nvGrpSpPr>
        <p:grpSpPr>
          <a:xfrm>
            <a:off x="8230576" y="3515857"/>
            <a:ext cx="360000" cy="360000"/>
            <a:chOff x="1259689" y="3204739"/>
            <a:chExt cx="360000" cy="36000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22CD6534-A37E-6750-3BBF-490878278096}"/>
                </a:ext>
              </a:extLst>
            </p:cNvPr>
            <p:cNvSpPr/>
            <p:nvPr/>
          </p:nvSpPr>
          <p:spPr bwMode="gray">
            <a:xfrm>
              <a:off x="1259689" y="3204739"/>
              <a:ext cx="360000" cy="360000"/>
            </a:xfrm>
            <a:prstGeom prst="ellipse">
              <a:avLst/>
            </a:prstGeom>
            <a:solidFill>
              <a:srgbClr val="DEA72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700" b="1" dirty="0">
                <a:solidFill>
                  <a:schemeClr val="bg1"/>
                </a:solidFill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2FD5D32-8BDA-0881-073C-FD4BA0C15ABF}"/>
                </a:ext>
              </a:extLst>
            </p:cNvPr>
            <p:cNvSpPr txBox="1"/>
            <p:nvPr/>
          </p:nvSpPr>
          <p:spPr>
            <a:xfrm>
              <a:off x="1299023" y="3261629"/>
              <a:ext cx="28133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s-ES_tradnl" sz="1600" dirty="0">
                  <a:solidFill>
                    <a:schemeClr val="bg1"/>
                  </a:solidFill>
                </a:rPr>
                <a:t>04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DA39EAE1-0318-E919-5495-B2B07C369535}"/>
              </a:ext>
            </a:extLst>
          </p:cNvPr>
          <p:cNvSpPr txBox="1"/>
          <p:nvPr/>
        </p:nvSpPr>
        <p:spPr>
          <a:xfrm>
            <a:off x="7440405" y="4165655"/>
            <a:ext cx="194034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1" dirty="0">
                <a:solidFill>
                  <a:srgbClr val="041E42"/>
                </a:solidFill>
                <a:latin typeface="Trebuchet MS"/>
              </a:rPr>
              <a:t>Emisión del PIN Salud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855F64B-8140-8225-51A0-03A9E2C63901}"/>
              </a:ext>
            </a:extLst>
          </p:cNvPr>
          <p:cNvCxnSpPr>
            <a:cxnSpLocks/>
          </p:cNvCxnSpPr>
          <p:nvPr/>
        </p:nvCxnSpPr>
        <p:spPr>
          <a:xfrm>
            <a:off x="8168587" y="4766896"/>
            <a:ext cx="48397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8BE452A8-F23B-66BD-83D5-21C2A29C44A7}"/>
              </a:ext>
            </a:extLst>
          </p:cNvPr>
          <p:cNvSpPr txBox="1"/>
          <p:nvPr/>
        </p:nvSpPr>
        <p:spPr>
          <a:xfrm>
            <a:off x="7665466" y="5014713"/>
            <a:ext cx="1702881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050" dirty="0">
                <a:solidFill>
                  <a:srgbClr val="041E42"/>
                </a:solidFill>
                <a:latin typeface="Trebuchet MS"/>
              </a:rPr>
              <a:t>Generación segura del PIN Salud de forma digital.</a:t>
            </a:r>
          </a:p>
        </p:txBody>
      </p:sp>
      <p:grpSp>
        <p:nvGrpSpPr>
          <p:cNvPr id="22" name="Graphic 1100">
            <a:extLst>
              <a:ext uri="{FF2B5EF4-FFF2-40B4-BE49-F238E27FC236}">
                <a16:creationId xmlns:a16="http://schemas.microsoft.com/office/drawing/2014/main" id="{6A0F662C-3627-914D-E2CF-89B39B396848}"/>
              </a:ext>
            </a:extLst>
          </p:cNvPr>
          <p:cNvGrpSpPr/>
          <p:nvPr/>
        </p:nvGrpSpPr>
        <p:grpSpPr>
          <a:xfrm>
            <a:off x="10211203" y="2536411"/>
            <a:ext cx="756000" cy="756000"/>
            <a:chOff x="2560447" y="2375167"/>
            <a:chExt cx="362309" cy="361971"/>
          </a:xfrm>
          <a:solidFill>
            <a:srgbClr val="012169"/>
          </a:solidFill>
        </p:grpSpPr>
        <p:sp>
          <p:nvSpPr>
            <p:cNvPr id="23" name="Graphic 1100">
              <a:extLst>
                <a:ext uri="{FF2B5EF4-FFF2-40B4-BE49-F238E27FC236}">
                  <a16:creationId xmlns:a16="http://schemas.microsoft.com/office/drawing/2014/main" id="{1CFC92CD-4171-6201-BD8A-482842894EC9}"/>
                </a:ext>
              </a:extLst>
            </p:cNvPr>
            <p:cNvSpPr/>
            <p:nvPr/>
          </p:nvSpPr>
          <p:spPr>
            <a:xfrm>
              <a:off x="2560447" y="2375167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5 w 362309"/>
                <a:gd name="connsiteY2" fmla="*/ 361972 h 361971"/>
                <a:gd name="connsiteX3" fmla="*/ 362309 w 362309"/>
                <a:gd name="connsiteY3" fmla="*/ 181305 h 361971"/>
                <a:gd name="connsiteX4" fmla="*/ 362309 w 362309"/>
                <a:gd name="connsiteY4" fmla="*/ 181305 h 361971"/>
                <a:gd name="connsiteX5" fmla="*/ 181474 w 362309"/>
                <a:gd name="connsiteY5" fmla="*/ 0 h 361971"/>
                <a:gd name="connsiteX6" fmla="*/ 181474 w 362309"/>
                <a:gd name="connsiteY6" fmla="*/ 349204 h 361971"/>
                <a:gd name="connsiteX7" fmla="*/ 12780 w 362309"/>
                <a:gd name="connsiteY7" fmla="*/ 181305 h 361971"/>
                <a:gd name="connsiteX8" fmla="*/ 180835 w 362309"/>
                <a:gd name="connsiteY8" fmla="*/ 12768 h 361971"/>
                <a:gd name="connsiteX9" fmla="*/ 349529 w 362309"/>
                <a:gd name="connsiteY9" fmla="*/ 180667 h 361971"/>
                <a:gd name="connsiteX10" fmla="*/ 349529 w 362309"/>
                <a:gd name="connsiteY10" fmla="*/ 180667 h 361971"/>
                <a:gd name="connsiteX11" fmla="*/ 181474 w 362309"/>
                <a:gd name="connsiteY11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309" y="81077"/>
                    <a:pt x="281157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099"/>
                    <a:pt x="88181" y="12768"/>
                    <a:pt x="180835" y="12768"/>
                  </a:cubicBezTo>
                  <a:cubicBezTo>
                    <a:pt x="274128" y="12768"/>
                    <a:pt x="349529" y="88099"/>
                    <a:pt x="349529" y="180667"/>
                  </a:cubicBezTo>
                  <a:cubicBezTo>
                    <a:pt x="349529" y="180667"/>
                    <a:pt x="349529" y="180667"/>
                    <a:pt x="349529" y="180667"/>
                  </a:cubicBezTo>
                  <a:cubicBezTo>
                    <a:pt x="349529" y="273873"/>
                    <a:pt x="274128" y="349204"/>
                    <a:pt x="181474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Graphic 1100">
              <a:extLst>
                <a:ext uri="{FF2B5EF4-FFF2-40B4-BE49-F238E27FC236}">
                  <a16:creationId xmlns:a16="http://schemas.microsoft.com/office/drawing/2014/main" id="{C9A39A66-0B28-E100-5B8F-91DA7BCEE6D0}"/>
                </a:ext>
              </a:extLst>
            </p:cNvPr>
            <p:cNvSpPr/>
            <p:nvPr/>
          </p:nvSpPr>
          <p:spPr>
            <a:xfrm>
              <a:off x="2631376" y="2480503"/>
              <a:ext cx="219272" cy="176836"/>
            </a:xfrm>
            <a:custGeom>
              <a:avLst/>
              <a:gdLst>
                <a:gd name="connsiteX0" fmla="*/ 213424 w 219272"/>
                <a:gd name="connsiteY0" fmla="*/ 0 h 176836"/>
                <a:gd name="connsiteX1" fmla="*/ 6390 w 219272"/>
                <a:gd name="connsiteY1" fmla="*/ 0 h 176836"/>
                <a:gd name="connsiteX2" fmla="*/ 0 w 219272"/>
                <a:gd name="connsiteY2" fmla="*/ 6384 h 176836"/>
                <a:gd name="connsiteX3" fmla="*/ 0 w 219272"/>
                <a:gd name="connsiteY3" fmla="*/ 139809 h 176836"/>
                <a:gd name="connsiteX4" fmla="*/ 6390 w 219272"/>
                <a:gd name="connsiteY4" fmla="*/ 146193 h 176836"/>
                <a:gd name="connsiteX5" fmla="*/ 103517 w 219272"/>
                <a:gd name="connsiteY5" fmla="*/ 146193 h 176836"/>
                <a:gd name="connsiteX6" fmla="*/ 103517 w 219272"/>
                <a:gd name="connsiteY6" fmla="*/ 164068 h 176836"/>
                <a:gd name="connsiteX7" fmla="*/ 72206 w 219272"/>
                <a:gd name="connsiteY7" fmla="*/ 164068 h 176836"/>
                <a:gd name="connsiteX8" fmla="*/ 65816 w 219272"/>
                <a:gd name="connsiteY8" fmla="*/ 170452 h 176836"/>
                <a:gd name="connsiteX9" fmla="*/ 72206 w 219272"/>
                <a:gd name="connsiteY9" fmla="*/ 176836 h 176836"/>
                <a:gd name="connsiteX10" fmla="*/ 146969 w 219272"/>
                <a:gd name="connsiteY10" fmla="*/ 176836 h 176836"/>
                <a:gd name="connsiteX11" fmla="*/ 153358 w 219272"/>
                <a:gd name="connsiteY11" fmla="*/ 170452 h 176836"/>
                <a:gd name="connsiteX12" fmla="*/ 146969 w 219272"/>
                <a:gd name="connsiteY12" fmla="*/ 164068 h 176836"/>
                <a:gd name="connsiteX13" fmla="*/ 115658 w 219272"/>
                <a:gd name="connsiteY13" fmla="*/ 164068 h 176836"/>
                <a:gd name="connsiteX14" fmla="*/ 115658 w 219272"/>
                <a:gd name="connsiteY14" fmla="*/ 146193 h 176836"/>
                <a:gd name="connsiteX15" fmla="*/ 212785 w 219272"/>
                <a:gd name="connsiteY15" fmla="*/ 146193 h 176836"/>
                <a:gd name="connsiteX16" fmla="*/ 219175 w 219272"/>
                <a:gd name="connsiteY16" fmla="*/ 139809 h 176836"/>
                <a:gd name="connsiteX17" fmla="*/ 219175 w 219272"/>
                <a:gd name="connsiteY17" fmla="*/ 6384 h 176836"/>
                <a:gd name="connsiteX18" fmla="*/ 213424 w 219272"/>
                <a:gd name="connsiteY18" fmla="*/ 0 h 176836"/>
                <a:gd name="connsiteX19" fmla="*/ 207034 w 219272"/>
                <a:gd name="connsiteY19" fmla="*/ 133425 h 176836"/>
                <a:gd name="connsiteX20" fmla="*/ 12780 w 219272"/>
                <a:gd name="connsiteY20" fmla="*/ 133425 h 176836"/>
                <a:gd name="connsiteX21" fmla="*/ 12780 w 219272"/>
                <a:gd name="connsiteY21" fmla="*/ 12768 h 176836"/>
                <a:gd name="connsiteX22" fmla="*/ 207034 w 219272"/>
                <a:gd name="connsiteY22" fmla="*/ 12768 h 176836"/>
                <a:gd name="connsiteX23" fmla="*/ 207034 w 219272"/>
                <a:gd name="connsiteY23" fmla="*/ 133425 h 17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9272" h="176836">
                  <a:moveTo>
                    <a:pt x="213424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139809"/>
                  </a:lnTo>
                  <a:cubicBezTo>
                    <a:pt x="0" y="143640"/>
                    <a:pt x="2556" y="146193"/>
                    <a:pt x="6390" y="146193"/>
                  </a:cubicBezTo>
                  <a:lnTo>
                    <a:pt x="103517" y="146193"/>
                  </a:lnTo>
                  <a:lnTo>
                    <a:pt x="103517" y="164068"/>
                  </a:lnTo>
                  <a:lnTo>
                    <a:pt x="72206" y="164068"/>
                  </a:lnTo>
                  <a:cubicBezTo>
                    <a:pt x="68372" y="164068"/>
                    <a:pt x="65816" y="166622"/>
                    <a:pt x="65816" y="170452"/>
                  </a:cubicBezTo>
                  <a:cubicBezTo>
                    <a:pt x="65816" y="174283"/>
                    <a:pt x="68372" y="176836"/>
                    <a:pt x="72206" y="176836"/>
                  </a:cubicBezTo>
                  <a:lnTo>
                    <a:pt x="146969" y="176836"/>
                  </a:lnTo>
                  <a:cubicBezTo>
                    <a:pt x="150803" y="176836"/>
                    <a:pt x="153358" y="174283"/>
                    <a:pt x="153358" y="170452"/>
                  </a:cubicBezTo>
                  <a:cubicBezTo>
                    <a:pt x="153358" y="166622"/>
                    <a:pt x="150803" y="164068"/>
                    <a:pt x="146969" y="164068"/>
                  </a:cubicBezTo>
                  <a:lnTo>
                    <a:pt x="115658" y="164068"/>
                  </a:lnTo>
                  <a:lnTo>
                    <a:pt x="115658" y="146193"/>
                  </a:lnTo>
                  <a:lnTo>
                    <a:pt x="212785" y="146193"/>
                  </a:lnTo>
                  <a:cubicBezTo>
                    <a:pt x="216619" y="146193"/>
                    <a:pt x="219175" y="143640"/>
                    <a:pt x="219175" y="139809"/>
                  </a:cubicBezTo>
                  <a:lnTo>
                    <a:pt x="219175" y="6384"/>
                  </a:lnTo>
                  <a:cubicBezTo>
                    <a:pt x="219814" y="2554"/>
                    <a:pt x="217258" y="0"/>
                    <a:pt x="213424" y="0"/>
                  </a:cubicBezTo>
                  <a:close/>
                  <a:moveTo>
                    <a:pt x="207034" y="133425"/>
                  </a:moveTo>
                  <a:lnTo>
                    <a:pt x="12780" y="133425"/>
                  </a:lnTo>
                  <a:lnTo>
                    <a:pt x="12780" y="12768"/>
                  </a:lnTo>
                  <a:lnTo>
                    <a:pt x="207034" y="12768"/>
                  </a:lnTo>
                  <a:lnTo>
                    <a:pt x="207034" y="13342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5685857-C12A-1D14-AE3A-1217AE608439}"/>
              </a:ext>
            </a:extLst>
          </p:cNvPr>
          <p:cNvGrpSpPr/>
          <p:nvPr/>
        </p:nvGrpSpPr>
        <p:grpSpPr>
          <a:xfrm>
            <a:off x="10409203" y="3515857"/>
            <a:ext cx="360000" cy="360000"/>
            <a:chOff x="1259689" y="3204739"/>
            <a:chExt cx="360000" cy="36000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F2CECC92-41F7-8DD6-80C4-C30054DBB302}"/>
                </a:ext>
              </a:extLst>
            </p:cNvPr>
            <p:cNvSpPr/>
            <p:nvPr/>
          </p:nvSpPr>
          <p:spPr bwMode="gray">
            <a:xfrm>
              <a:off x="1259689" y="3204739"/>
              <a:ext cx="360000" cy="360000"/>
            </a:xfrm>
            <a:prstGeom prst="ellipse">
              <a:avLst/>
            </a:prstGeom>
            <a:solidFill>
              <a:srgbClr val="DEA72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700" b="1" dirty="0">
                <a:solidFill>
                  <a:schemeClr val="bg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B280804-106D-2AB0-C833-890D884AF3FC}"/>
                </a:ext>
              </a:extLst>
            </p:cNvPr>
            <p:cNvSpPr txBox="1"/>
            <p:nvPr/>
          </p:nvSpPr>
          <p:spPr>
            <a:xfrm>
              <a:off x="1299023" y="3261629"/>
              <a:ext cx="28133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s-ES_tradnl" sz="1600" dirty="0">
                  <a:solidFill>
                    <a:schemeClr val="bg1"/>
                  </a:solidFill>
                </a:rPr>
                <a:t>05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EE3850CB-BAE7-4390-6EB4-0F7A52570877}"/>
              </a:ext>
            </a:extLst>
          </p:cNvPr>
          <p:cNvSpPr txBox="1"/>
          <p:nvPr/>
        </p:nvSpPr>
        <p:spPr>
          <a:xfrm>
            <a:off x="9617802" y="4165655"/>
            <a:ext cx="194034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1" dirty="0">
                <a:solidFill>
                  <a:srgbClr val="041E42"/>
                </a:solidFill>
                <a:latin typeface="Trebuchet MS"/>
              </a:rPr>
              <a:t>Acceso a servicios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BCC5363E-D68E-5871-A781-75D8114C7C16}"/>
              </a:ext>
            </a:extLst>
          </p:cNvPr>
          <p:cNvCxnSpPr>
            <a:cxnSpLocks/>
          </p:cNvCxnSpPr>
          <p:nvPr/>
        </p:nvCxnSpPr>
        <p:spPr>
          <a:xfrm>
            <a:off x="10347214" y="4766896"/>
            <a:ext cx="48397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1ABCBD49-A1D1-4B2D-4536-16193FE82317}"/>
              </a:ext>
            </a:extLst>
          </p:cNvPr>
          <p:cNvSpPr txBox="1"/>
          <p:nvPr/>
        </p:nvSpPr>
        <p:spPr>
          <a:xfrm>
            <a:off x="9819828" y="5014713"/>
            <a:ext cx="176934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050" dirty="0">
                <a:solidFill>
                  <a:srgbClr val="041E42"/>
                </a:solidFill>
                <a:latin typeface="Trebuchet MS"/>
              </a:rPr>
              <a:t>Acceso inmediato a los servicios sanitarios y electrónicos del Gobierno de Aragón.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6E27A8CC-CC04-B3F4-8A42-3ED0A88FD1B9}"/>
              </a:ext>
            </a:extLst>
          </p:cNvPr>
          <p:cNvCxnSpPr>
            <a:cxnSpLocks/>
          </p:cNvCxnSpPr>
          <p:nvPr/>
        </p:nvCxnSpPr>
        <p:spPr>
          <a:xfrm>
            <a:off x="2641423" y="2326727"/>
            <a:ext cx="0" cy="360314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AB02F0E0-182A-97CE-4153-B6DD85F6AA5D}"/>
              </a:ext>
            </a:extLst>
          </p:cNvPr>
          <p:cNvCxnSpPr>
            <a:cxnSpLocks/>
          </p:cNvCxnSpPr>
          <p:nvPr/>
        </p:nvCxnSpPr>
        <p:spPr>
          <a:xfrm>
            <a:off x="4944307" y="2326727"/>
            <a:ext cx="0" cy="360314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5E9542C9-8A52-906E-F906-624E4FFCA235}"/>
              </a:ext>
            </a:extLst>
          </p:cNvPr>
          <p:cNvCxnSpPr>
            <a:cxnSpLocks/>
          </p:cNvCxnSpPr>
          <p:nvPr/>
        </p:nvCxnSpPr>
        <p:spPr>
          <a:xfrm>
            <a:off x="7365824" y="2326727"/>
            <a:ext cx="0" cy="360314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390A13B1-ABEB-8AC4-2267-922CF2CCBEBB}"/>
              </a:ext>
            </a:extLst>
          </p:cNvPr>
          <p:cNvCxnSpPr>
            <a:cxnSpLocks/>
          </p:cNvCxnSpPr>
          <p:nvPr/>
        </p:nvCxnSpPr>
        <p:spPr>
          <a:xfrm>
            <a:off x="9488536" y="2326727"/>
            <a:ext cx="0" cy="360314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Graphic 4">
            <a:extLst>
              <a:ext uri="{FF2B5EF4-FFF2-40B4-BE49-F238E27FC236}">
                <a16:creationId xmlns:a16="http://schemas.microsoft.com/office/drawing/2014/main" id="{E80DF038-7E07-4F99-C813-0F5E5D3B5E1B}"/>
              </a:ext>
            </a:extLst>
          </p:cNvPr>
          <p:cNvSpPr/>
          <p:nvPr/>
        </p:nvSpPr>
        <p:spPr>
          <a:xfrm>
            <a:off x="2460268" y="3510651"/>
            <a:ext cx="362309" cy="361971"/>
          </a:xfrm>
          <a:custGeom>
            <a:avLst/>
            <a:gdLst>
              <a:gd name="connsiteX0" fmla="*/ 181474 w 362309"/>
              <a:gd name="connsiteY0" fmla="*/ 0 h 361971"/>
              <a:gd name="connsiteX1" fmla="*/ 0 w 362309"/>
              <a:gd name="connsiteY1" fmla="*/ 180667 h 361971"/>
              <a:gd name="connsiteX2" fmla="*/ 180835 w 362309"/>
              <a:gd name="connsiteY2" fmla="*/ 361972 h 361971"/>
              <a:gd name="connsiteX3" fmla="*/ 362309 w 362309"/>
              <a:gd name="connsiteY3" fmla="*/ 181305 h 361971"/>
              <a:gd name="connsiteX4" fmla="*/ 362309 w 362309"/>
              <a:gd name="connsiteY4" fmla="*/ 181305 h 361971"/>
              <a:gd name="connsiteX5" fmla="*/ 181474 w 362309"/>
              <a:gd name="connsiteY5" fmla="*/ 0 h 361971"/>
              <a:gd name="connsiteX6" fmla="*/ 181474 w 362309"/>
              <a:gd name="connsiteY6" fmla="*/ 0 h 361971"/>
              <a:gd name="connsiteX7" fmla="*/ 233233 w 362309"/>
              <a:gd name="connsiteY7" fmla="*/ 185774 h 361971"/>
              <a:gd name="connsiteX8" fmla="*/ 138022 w 362309"/>
              <a:gd name="connsiteY8" fmla="*/ 280895 h 361971"/>
              <a:gd name="connsiteX9" fmla="*/ 129076 w 362309"/>
              <a:gd name="connsiteY9" fmla="*/ 280895 h 361971"/>
              <a:gd name="connsiteX10" fmla="*/ 129076 w 362309"/>
              <a:gd name="connsiteY10" fmla="*/ 271958 h 361971"/>
              <a:gd name="connsiteX11" fmla="*/ 219814 w 362309"/>
              <a:gd name="connsiteY11" fmla="*/ 181305 h 361971"/>
              <a:gd name="connsiteX12" fmla="*/ 129076 w 362309"/>
              <a:gd name="connsiteY12" fmla="*/ 91291 h 361971"/>
              <a:gd name="connsiteX13" fmla="*/ 129076 w 362309"/>
              <a:gd name="connsiteY13" fmla="*/ 82353 h 361971"/>
              <a:gd name="connsiteX14" fmla="*/ 129076 w 362309"/>
              <a:gd name="connsiteY14" fmla="*/ 82353 h 361971"/>
              <a:gd name="connsiteX15" fmla="*/ 138022 w 362309"/>
              <a:gd name="connsiteY15" fmla="*/ 82353 h 361971"/>
              <a:gd name="connsiteX16" fmla="*/ 233233 w 362309"/>
              <a:gd name="connsiteY16" fmla="*/ 177475 h 361971"/>
              <a:gd name="connsiteX17" fmla="*/ 235150 w 362309"/>
              <a:gd name="connsiteY17" fmla="*/ 181944 h 361971"/>
              <a:gd name="connsiteX18" fmla="*/ 233233 w 362309"/>
              <a:gd name="connsiteY18" fmla="*/ 185774 h 361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62309" h="361971">
                <a:moveTo>
                  <a:pt x="181474" y="0"/>
                </a:moveTo>
                <a:cubicBezTo>
                  <a:pt x="81152" y="0"/>
                  <a:pt x="0" y="81077"/>
                  <a:pt x="0" y="180667"/>
                </a:cubicBezTo>
                <a:cubicBezTo>
                  <a:pt x="0" y="280257"/>
                  <a:pt x="81152" y="361972"/>
                  <a:pt x="180835" y="361972"/>
                </a:cubicBezTo>
                <a:cubicBezTo>
                  <a:pt x="281157" y="361972"/>
                  <a:pt x="362309" y="280895"/>
                  <a:pt x="362309" y="181305"/>
                </a:cubicBezTo>
                <a:cubicBezTo>
                  <a:pt x="362309" y="181305"/>
                  <a:pt x="362309" y="181305"/>
                  <a:pt x="362309" y="181305"/>
                </a:cubicBezTo>
                <a:cubicBezTo>
                  <a:pt x="362309" y="81077"/>
                  <a:pt x="281157" y="0"/>
                  <a:pt x="181474" y="0"/>
                </a:cubicBezTo>
                <a:lnTo>
                  <a:pt x="181474" y="0"/>
                </a:lnTo>
                <a:close/>
                <a:moveTo>
                  <a:pt x="233233" y="185774"/>
                </a:moveTo>
                <a:lnTo>
                  <a:pt x="138022" y="280895"/>
                </a:lnTo>
                <a:cubicBezTo>
                  <a:pt x="135466" y="283449"/>
                  <a:pt x="131633" y="283449"/>
                  <a:pt x="129076" y="280895"/>
                </a:cubicBezTo>
                <a:cubicBezTo>
                  <a:pt x="126521" y="278342"/>
                  <a:pt x="126521" y="274511"/>
                  <a:pt x="129076" y="271958"/>
                </a:cubicBezTo>
                <a:lnTo>
                  <a:pt x="219814" y="181305"/>
                </a:lnTo>
                <a:lnTo>
                  <a:pt x="129076" y="91291"/>
                </a:lnTo>
                <a:cubicBezTo>
                  <a:pt x="126521" y="88737"/>
                  <a:pt x="126521" y="84907"/>
                  <a:pt x="129076" y="82353"/>
                </a:cubicBezTo>
                <a:cubicBezTo>
                  <a:pt x="129076" y="82353"/>
                  <a:pt x="129076" y="82353"/>
                  <a:pt x="129076" y="82353"/>
                </a:cubicBezTo>
                <a:cubicBezTo>
                  <a:pt x="131633" y="79800"/>
                  <a:pt x="135466" y="79800"/>
                  <a:pt x="138022" y="82353"/>
                </a:cubicBezTo>
                <a:lnTo>
                  <a:pt x="233233" y="177475"/>
                </a:lnTo>
                <a:cubicBezTo>
                  <a:pt x="234510" y="178752"/>
                  <a:pt x="235150" y="180028"/>
                  <a:pt x="235150" y="181944"/>
                </a:cubicBezTo>
                <a:cubicBezTo>
                  <a:pt x="235150" y="183220"/>
                  <a:pt x="234510" y="184497"/>
                  <a:pt x="233233" y="185774"/>
                </a:cubicBezTo>
                <a:close/>
              </a:path>
            </a:pathLst>
          </a:custGeom>
          <a:solidFill>
            <a:srgbClr val="041E42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9" name="Graphic 4">
            <a:extLst>
              <a:ext uri="{FF2B5EF4-FFF2-40B4-BE49-F238E27FC236}">
                <a16:creationId xmlns:a16="http://schemas.microsoft.com/office/drawing/2014/main" id="{692BD300-9878-EA78-CF32-3F6C723D72A2}"/>
              </a:ext>
            </a:extLst>
          </p:cNvPr>
          <p:cNvSpPr/>
          <p:nvPr/>
        </p:nvSpPr>
        <p:spPr>
          <a:xfrm>
            <a:off x="4764135" y="3519614"/>
            <a:ext cx="362309" cy="361971"/>
          </a:xfrm>
          <a:custGeom>
            <a:avLst/>
            <a:gdLst>
              <a:gd name="connsiteX0" fmla="*/ 181474 w 362309"/>
              <a:gd name="connsiteY0" fmla="*/ 0 h 361971"/>
              <a:gd name="connsiteX1" fmla="*/ 0 w 362309"/>
              <a:gd name="connsiteY1" fmla="*/ 180667 h 361971"/>
              <a:gd name="connsiteX2" fmla="*/ 180835 w 362309"/>
              <a:gd name="connsiteY2" fmla="*/ 361972 h 361971"/>
              <a:gd name="connsiteX3" fmla="*/ 362309 w 362309"/>
              <a:gd name="connsiteY3" fmla="*/ 181305 h 361971"/>
              <a:gd name="connsiteX4" fmla="*/ 362309 w 362309"/>
              <a:gd name="connsiteY4" fmla="*/ 181305 h 361971"/>
              <a:gd name="connsiteX5" fmla="*/ 181474 w 362309"/>
              <a:gd name="connsiteY5" fmla="*/ 0 h 361971"/>
              <a:gd name="connsiteX6" fmla="*/ 181474 w 362309"/>
              <a:gd name="connsiteY6" fmla="*/ 0 h 361971"/>
              <a:gd name="connsiteX7" fmla="*/ 233233 w 362309"/>
              <a:gd name="connsiteY7" fmla="*/ 185774 h 361971"/>
              <a:gd name="connsiteX8" fmla="*/ 138022 w 362309"/>
              <a:gd name="connsiteY8" fmla="*/ 280895 h 361971"/>
              <a:gd name="connsiteX9" fmla="*/ 129076 w 362309"/>
              <a:gd name="connsiteY9" fmla="*/ 280895 h 361971"/>
              <a:gd name="connsiteX10" fmla="*/ 129076 w 362309"/>
              <a:gd name="connsiteY10" fmla="*/ 271958 h 361971"/>
              <a:gd name="connsiteX11" fmla="*/ 219814 w 362309"/>
              <a:gd name="connsiteY11" fmla="*/ 181305 h 361971"/>
              <a:gd name="connsiteX12" fmla="*/ 129076 w 362309"/>
              <a:gd name="connsiteY12" fmla="*/ 91291 h 361971"/>
              <a:gd name="connsiteX13" fmla="*/ 129076 w 362309"/>
              <a:gd name="connsiteY13" fmla="*/ 82353 h 361971"/>
              <a:gd name="connsiteX14" fmla="*/ 129076 w 362309"/>
              <a:gd name="connsiteY14" fmla="*/ 82353 h 361971"/>
              <a:gd name="connsiteX15" fmla="*/ 138022 w 362309"/>
              <a:gd name="connsiteY15" fmla="*/ 82353 h 361971"/>
              <a:gd name="connsiteX16" fmla="*/ 233233 w 362309"/>
              <a:gd name="connsiteY16" fmla="*/ 177475 h 361971"/>
              <a:gd name="connsiteX17" fmla="*/ 235150 w 362309"/>
              <a:gd name="connsiteY17" fmla="*/ 181944 h 361971"/>
              <a:gd name="connsiteX18" fmla="*/ 233233 w 362309"/>
              <a:gd name="connsiteY18" fmla="*/ 185774 h 361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62309" h="361971">
                <a:moveTo>
                  <a:pt x="181474" y="0"/>
                </a:moveTo>
                <a:cubicBezTo>
                  <a:pt x="81152" y="0"/>
                  <a:pt x="0" y="81077"/>
                  <a:pt x="0" y="180667"/>
                </a:cubicBezTo>
                <a:cubicBezTo>
                  <a:pt x="0" y="280257"/>
                  <a:pt x="81152" y="361972"/>
                  <a:pt x="180835" y="361972"/>
                </a:cubicBezTo>
                <a:cubicBezTo>
                  <a:pt x="281157" y="361972"/>
                  <a:pt x="362309" y="280895"/>
                  <a:pt x="362309" y="181305"/>
                </a:cubicBezTo>
                <a:cubicBezTo>
                  <a:pt x="362309" y="181305"/>
                  <a:pt x="362309" y="181305"/>
                  <a:pt x="362309" y="181305"/>
                </a:cubicBezTo>
                <a:cubicBezTo>
                  <a:pt x="362309" y="81077"/>
                  <a:pt x="281157" y="0"/>
                  <a:pt x="181474" y="0"/>
                </a:cubicBezTo>
                <a:lnTo>
                  <a:pt x="181474" y="0"/>
                </a:lnTo>
                <a:close/>
                <a:moveTo>
                  <a:pt x="233233" y="185774"/>
                </a:moveTo>
                <a:lnTo>
                  <a:pt x="138022" y="280895"/>
                </a:lnTo>
                <a:cubicBezTo>
                  <a:pt x="135466" y="283449"/>
                  <a:pt x="131633" y="283449"/>
                  <a:pt x="129076" y="280895"/>
                </a:cubicBezTo>
                <a:cubicBezTo>
                  <a:pt x="126521" y="278342"/>
                  <a:pt x="126521" y="274511"/>
                  <a:pt x="129076" y="271958"/>
                </a:cubicBezTo>
                <a:lnTo>
                  <a:pt x="219814" y="181305"/>
                </a:lnTo>
                <a:lnTo>
                  <a:pt x="129076" y="91291"/>
                </a:lnTo>
                <a:cubicBezTo>
                  <a:pt x="126521" y="88737"/>
                  <a:pt x="126521" y="84907"/>
                  <a:pt x="129076" y="82353"/>
                </a:cubicBezTo>
                <a:cubicBezTo>
                  <a:pt x="129076" y="82353"/>
                  <a:pt x="129076" y="82353"/>
                  <a:pt x="129076" y="82353"/>
                </a:cubicBezTo>
                <a:cubicBezTo>
                  <a:pt x="131633" y="79800"/>
                  <a:pt x="135466" y="79800"/>
                  <a:pt x="138022" y="82353"/>
                </a:cubicBezTo>
                <a:lnTo>
                  <a:pt x="233233" y="177475"/>
                </a:lnTo>
                <a:cubicBezTo>
                  <a:pt x="234510" y="178752"/>
                  <a:pt x="235150" y="180028"/>
                  <a:pt x="235150" y="181944"/>
                </a:cubicBezTo>
                <a:cubicBezTo>
                  <a:pt x="235150" y="183220"/>
                  <a:pt x="234510" y="184497"/>
                  <a:pt x="233233" y="185774"/>
                </a:cubicBezTo>
                <a:close/>
              </a:path>
            </a:pathLst>
          </a:custGeom>
          <a:solidFill>
            <a:srgbClr val="041E42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0" name="Graphic 4">
            <a:extLst>
              <a:ext uri="{FF2B5EF4-FFF2-40B4-BE49-F238E27FC236}">
                <a16:creationId xmlns:a16="http://schemas.microsoft.com/office/drawing/2014/main" id="{44EF8693-713D-5F0B-AA95-72F346DEB528}"/>
              </a:ext>
            </a:extLst>
          </p:cNvPr>
          <p:cNvSpPr/>
          <p:nvPr/>
        </p:nvSpPr>
        <p:spPr>
          <a:xfrm>
            <a:off x="7184669" y="3519614"/>
            <a:ext cx="362309" cy="361971"/>
          </a:xfrm>
          <a:custGeom>
            <a:avLst/>
            <a:gdLst>
              <a:gd name="connsiteX0" fmla="*/ 181474 w 362309"/>
              <a:gd name="connsiteY0" fmla="*/ 0 h 361971"/>
              <a:gd name="connsiteX1" fmla="*/ 0 w 362309"/>
              <a:gd name="connsiteY1" fmla="*/ 180667 h 361971"/>
              <a:gd name="connsiteX2" fmla="*/ 180835 w 362309"/>
              <a:gd name="connsiteY2" fmla="*/ 361972 h 361971"/>
              <a:gd name="connsiteX3" fmla="*/ 362309 w 362309"/>
              <a:gd name="connsiteY3" fmla="*/ 181305 h 361971"/>
              <a:gd name="connsiteX4" fmla="*/ 362309 w 362309"/>
              <a:gd name="connsiteY4" fmla="*/ 181305 h 361971"/>
              <a:gd name="connsiteX5" fmla="*/ 181474 w 362309"/>
              <a:gd name="connsiteY5" fmla="*/ 0 h 361971"/>
              <a:gd name="connsiteX6" fmla="*/ 181474 w 362309"/>
              <a:gd name="connsiteY6" fmla="*/ 0 h 361971"/>
              <a:gd name="connsiteX7" fmla="*/ 233233 w 362309"/>
              <a:gd name="connsiteY7" fmla="*/ 185774 h 361971"/>
              <a:gd name="connsiteX8" fmla="*/ 138022 w 362309"/>
              <a:gd name="connsiteY8" fmla="*/ 280895 h 361971"/>
              <a:gd name="connsiteX9" fmla="*/ 129076 w 362309"/>
              <a:gd name="connsiteY9" fmla="*/ 280895 h 361971"/>
              <a:gd name="connsiteX10" fmla="*/ 129076 w 362309"/>
              <a:gd name="connsiteY10" fmla="*/ 271958 h 361971"/>
              <a:gd name="connsiteX11" fmla="*/ 219814 w 362309"/>
              <a:gd name="connsiteY11" fmla="*/ 181305 h 361971"/>
              <a:gd name="connsiteX12" fmla="*/ 129076 w 362309"/>
              <a:gd name="connsiteY12" fmla="*/ 91291 h 361971"/>
              <a:gd name="connsiteX13" fmla="*/ 129076 w 362309"/>
              <a:gd name="connsiteY13" fmla="*/ 82353 h 361971"/>
              <a:gd name="connsiteX14" fmla="*/ 129076 w 362309"/>
              <a:gd name="connsiteY14" fmla="*/ 82353 h 361971"/>
              <a:gd name="connsiteX15" fmla="*/ 138022 w 362309"/>
              <a:gd name="connsiteY15" fmla="*/ 82353 h 361971"/>
              <a:gd name="connsiteX16" fmla="*/ 233233 w 362309"/>
              <a:gd name="connsiteY16" fmla="*/ 177475 h 361971"/>
              <a:gd name="connsiteX17" fmla="*/ 235150 w 362309"/>
              <a:gd name="connsiteY17" fmla="*/ 181944 h 361971"/>
              <a:gd name="connsiteX18" fmla="*/ 233233 w 362309"/>
              <a:gd name="connsiteY18" fmla="*/ 185774 h 361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62309" h="361971">
                <a:moveTo>
                  <a:pt x="181474" y="0"/>
                </a:moveTo>
                <a:cubicBezTo>
                  <a:pt x="81152" y="0"/>
                  <a:pt x="0" y="81077"/>
                  <a:pt x="0" y="180667"/>
                </a:cubicBezTo>
                <a:cubicBezTo>
                  <a:pt x="0" y="280257"/>
                  <a:pt x="81152" y="361972"/>
                  <a:pt x="180835" y="361972"/>
                </a:cubicBezTo>
                <a:cubicBezTo>
                  <a:pt x="281157" y="361972"/>
                  <a:pt x="362309" y="280895"/>
                  <a:pt x="362309" y="181305"/>
                </a:cubicBezTo>
                <a:cubicBezTo>
                  <a:pt x="362309" y="181305"/>
                  <a:pt x="362309" y="181305"/>
                  <a:pt x="362309" y="181305"/>
                </a:cubicBezTo>
                <a:cubicBezTo>
                  <a:pt x="362309" y="81077"/>
                  <a:pt x="281157" y="0"/>
                  <a:pt x="181474" y="0"/>
                </a:cubicBezTo>
                <a:lnTo>
                  <a:pt x="181474" y="0"/>
                </a:lnTo>
                <a:close/>
                <a:moveTo>
                  <a:pt x="233233" y="185774"/>
                </a:moveTo>
                <a:lnTo>
                  <a:pt x="138022" y="280895"/>
                </a:lnTo>
                <a:cubicBezTo>
                  <a:pt x="135466" y="283449"/>
                  <a:pt x="131633" y="283449"/>
                  <a:pt x="129076" y="280895"/>
                </a:cubicBezTo>
                <a:cubicBezTo>
                  <a:pt x="126521" y="278342"/>
                  <a:pt x="126521" y="274511"/>
                  <a:pt x="129076" y="271958"/>
                </a:cubicBezTo>
                <a:lnTo>
                  <a:pt x="219814" y="181305"/>
                </a:lnTo>
                <a:lnTo>
                  <a:pt x="129076" y="91291"/>
                </a:lnTo>
                <a:cubicBezTo>
                  <a:pt x="126521" y="88737"/>
                  <a:pt x="126521" y="84907"/>
                  <a:pt x="129076" y="82353"/>
                </a:cubicBezTo>
                <a:cubicBezTo>
                  <a:pt x="129076" y="82353"/>
                  <a:pt x="129076" y="82353"/>
                  <a:pt x="129076" y="82353"/>
                </a:cubicBezTo>
                <a:cubicBezTo>
                  <a:pt x="131633" y="79800"/>
                  <a:pt x="135466" y="79800"/>
                  <a:pt x="138022" y="82353"/>
                </a:cubicBezTo>
                <a:lnTo>
                  <a:pt x="233233" y="177475"/>
                </a:lnTo>
                <a:cubicBezTo>
                  <a:pt x="234510" y="178752"/>
                  <a:pt x="235150" y="180028"/>
                  <a:pt x="235150" y="181944"/>
                </a:cubicBezTo>
                <a:cubicBezTo>
                  <a:pt x="235150" y="183220"/>
                  <a:pt x="234510" y="184497"/>
                  <a:pt x="233233" y="185774"/>
                </a:cubicBezTo>
                <a:close/>
              </a:path>
            </a:pathLst>
          </a:custGeom>
          <a:solidFill>
            <a:srgbClr val="041E42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1" name="Graphic 4">
            <a:extLst>
              <a:ext uri="{FF2B5EF4-FFF2-40B4-BE49-F238E27FC236}">
                <a16:creationId xmlns:a16="http://schemas.microsoft.com/office/drawing/2014/main" id="{5DF7AED9-237A-D5AD-6047-CC92A98C046F}"/>
              </a:ext>
            </a:extLst>
          </p:cNvPr>
          <p:cNvSpPr/>
          <p:nvPr/>
        </p:nvSpPr>
        <p:spPr>
          <a:xfrm>
            <a:off x="9307381" y="3510651"/>
            <a:ext cx="362309" cy="361971"/>
          </a:xfrm>
          <a:custGeom>
            <a:avLst/>
            <a:gdLst>
              <a:gd name="connsiteX0" fmla="*/ 181474 w 362309"/>
              <a:gd name="connsiteY0" fmla="*/ 0 h 361971"/>
              <a:gd name="connsiteX1" fmla="*/ 0 w 362309"/>
              <a:gd name="connsiteY1" fmla="*/ 180667 h 361971"/>
              <a:gd name="connsiteX2" fmla="*/ 180835 w 362309"/>
              <a:gd name="connsiteY2" fmla="*/ 361972 h 361971"/>
              <a:gd name="connsiteX3" fmla="*/ 362309 w 362309"/>
              <a:gd name="connsiteY3" fmla="*/ 181305 h 361971"/>
              <a:gd name="connsiteX4" fmla="*/ 362309 w 362309"/>
              <a:gd name="connsiteY4" fmla="*/ 181305 h 361971"/>
              <a:gd name="connsiteX5" fmla="*/ 181474 w 362309"/>
              <a:gd name="connsiteY5" fmla="*/ 0 h 361971"/>
              <a:gd name="connsiteX6" fmla="*/ 181474 w 362309"/>
              <a:gd name="connsiteY6" fmla="*/ 0 h 361971"/>
              <a:gd name="connsiteX7" fmla="*/ 233233 w 362309"/>
              <a:gd name="connsiteY7" fmla="*/ 185774 h 361971"/>
              <a:gd name="connsiteX8" fmla="*/ 138022 w 362309"/>
              <a:gd name="connsiteY8" fmla="*/ 280895 h 361971"/>
              <a:gd name="connsiteX9" fmla="*/ 129076 w 362309"/>
              <a:gd name="connsiteY9" fmla="*/ 280895 h 361971"/>
              <a:gd name="connsiteX10" fmla="*/ 129076 w 362309"/>
              <a:gd name="connsiteY10" fmla="*/ 271958 h 361971"/>
              <a:gd name="connsiteX11" fmla="*/ 219814 w 362309"/>
              <a:gd name="connsiteY11" fmla="*/ 181305 h 361971"/>
              <a:gd name="connsiteX12" fmla="*/ 129076 w 362309"/>
              <a:gd name="connsiteY12" fmla="*/ 91291 h 361971"/>
              <a:gd name="connsiteX13" fmla="*/ 129076 w 362309"/>
              <a:gd name="connsiteY13" fmla="*/ 82353 h 361971"/>
              <a:gd name="connsiteX14" fmla="*/ 129076 w 362309"/>
              <a:gd name="connsiteY14" fmla="*/ 82353 h 361971"/>
              <a:gd name="connsiteX15" fmla="*/ 138022 w 362309"/>
              <a:gd name="connsiteY15" fmla="*/ 82353 h 361971"/>
              <a:gd name="connsiteX16" fmla="*/ 233233 w 362309"/>
              <a:gd name="connsiteY16" fmla="*/ 177475 h 361971"/>
              <a:gd name="connsiteX17" fmla="*/ 235150 w 362309"/>
              <a:gd name="connsiteY17" fmla="*/ 181944 h 361971"/>
              <a:gd name="connsiteX18" fmla="*/ 233233 w 362309"/>
              <a:gd name="connsiteY18" fmla="*/ 185774 h 361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62309" h="361971">
                <a:moveTo>
                  <a:pt x="181474" y="0"/>
                </a:moveTo>
                <a:cubicBezTo>
                  <a:pt x="81152" y="0"/>
                  <a:pt x="0" y="81077"/>
                  <a:pt x="0" y="180667"/>
                </a:cubicBezTo>
                <a:cubicBezTo>
                  <a:pt x="0" y="280257"/>
                  <a:pt x="81152" y="361972"/>
                  <a:pt x="180835" y="361972"/>
                </a:cubicBezTo>
                <a:cubicBezTo>
                  <a:pt x="281157" y="361972"/>
                  <a:pt x="362309" y="280895"/>
                  <a:pt x="362309" y="181305"/>
                </a:cubicBezTo>
                <a:cubicBezTo>
                  <a:pt x="362309" y="181305"/>
                  <a:pt x="362309" y="181305"/>
                  <a:pt x="362309" y="181305"/>
                </a:cubicBezTo>
                <a:cubicBezTo>
                  <a:pt x="362309" y="81077"/>
                  <a:pt x="281157" y="0"/>
                  <a:pt x="181474" y="0"/>
                </a:cubicBezTo>
                <a:lnTo>
                  <a:pt x="181474" y="0"/>
                </a:lnTo>
                <a:close/>
                <a:moveTo>
                  <a:pt x="233233" y="185774"/>
                </a:moveTo>
                <a:lnTo>
                  <a:pt x="138022" y="280895"/>
                </a:lnTo>
                <a:cubicBezTo>
                  <a:pt x="135466" y="283449"/>
                  <a:pt x="131633" y="283449"/>
                  <a:pt x="129076" y="280895"/>
                </a:cubicBezTo>
                <a:cubicBezTo>
                  <a:pt x="126521" y="278342"/>
                  <a:pt x="126521" y="274511"/>
                  <a:pt x="129076" y="271958"/>
                </a:cubicBezTo>
                <a:lnTo>
                  <a:pt x="219814" y="181305"/>
                </a:lnTo>
                <a:lnTo>
                  <a:pt x="129076" y="91291"/>
                </a:lnTo>
                <a:cubicBezTo>
                  <a:pt x="126521" y="88737"/>
                  <a:pt x="126521" y="84907"/>
                  <a:pt x="129076" y="82353"/>
                </a:cubicBezTo>
                <a:cubicBezTo>
                  <a:pt x="129076" y="82353"/>
                  <a:pt x="129076" y="82353"/>
                  <a:pt x="129076" y="82353"/>
                </a:cubicBezTo>
                <a:cubicBezTo>
                  <a:pt x="131633" y="79800"/>
                  <a:pt x="135466" y="79800"/>
                  <a:pt x="138022" y="82353"/>
                </a:cubicBezTo>
                <a:lnTo>
                  <a:pt x="233233" y="177475"/>
                </a:lnTo>
                <a:cubicBezTo>
                  <a:pt x="234510" y="178752"/>
                  <a:pt x="235150" y="180028"/>
                  <a:pt x="235150" y="181944"/>
                </a:cubicBezTo>
                <a:cubicBezTo>
                  <a:pt x="235150" y="183220"/>
                  <a:pt x="234510" y="184497"/>
                  <a:pt x="233233" y="185774"/>
                </a:cubicBezTo>
                <a:close/>
              </a:path>
            </a:pathLst>
          </a:custGeom>
          <a:solidFill>
            <a:srgbClr val="041E42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96505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texto 6">
            <a:extLst>
              <a:ext uri="{FF2B5EF4-FFF2-40B4-BE49-F238E27FC236}">
                <a16:creationId xmlns:a16="http://schemas.microsoft.com/office/drawing/2014/main" id="{361F31F6-0C5D-8990-0571-1538EC147128}"/>
              </a:ext>
            </a:extLst>
          </p:cNvPr>
          <p:cNvSpPr txBox="1">
            <a:spLocks/>
          </p:cNvSpPr>
          <p:nvPr/>
        </p:nvSpPr>
        <p:spPr>
          <a:xfrm>
            <a:off x="467285" y="1531687"/>
            <a:ext cx="3813553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>
              <a:buFont typeface="Arial" panose="020B0604020202020204" pitchFamily="34" charset="0"/>
              <a:buChar char="•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AR" sz="1400" dirty="0">
                <a:solidFill>
                  <a:schemeClr val="tx1">
                    <a:lumMod val="50000"/>
                  </a:schemeClr>
                </a:solidFill>
              </a:rPr>
              <a:t>El proceso de generación del PIN Salud se realiza mediante video identificación remota, permitiendo verificar la identidad del usuario de forma digital y segura.</a:t>
            </a:r>
          </a:p>
          <a:p>
            <a:pPr marL="0" indent="0">
              <a:buNone/>
            </a:pPr>
            <a:endParaRPr lang="es-AR" sz="1400" dirty="0">
              <a:solidFill>
                <a:schemeClr val="tx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s-AR" sz="1400" dirty="0">
                <a:solidFill>
                  <a:schemeClr val="tx1">
                    <a:lumMod val="50000"/>
                  </a:schemeClr>
                </a:solidFill>
              </a:rPr>
              <a:t>El flujo combina validación de datos de contacto del ciudadano, verificación documental y biométrica, hasta confirmar la identidad del mismo.</a:t>
            </a:r>
          </a:p>
          <a:p>
            <a:pPr marL="0" indent="0">
              <a:buNone/>
            </a:pPr>
            <a:endParaRPr lang="es-AR" sz="1400" dirty="0">
              <a:solidFill>
                <a:schemeClr val="tx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s-AR" sz="1400" dirty="0">
                <a:solidFill>
                  <a:schemeClr val="tx1">
                    <a:lumMod val="50000"/>
                  </a:schemeClr>
                </a:solidFill>
              </a:rPr>
              <a:t>Una vez completado, la solicitud es validada y asociada al sistema sanitario de Aragón, permitiendo la obtención del PIN Salud y acceso a servicios digitales por parte del ciudadano.</a:t>
            </a:r>
            <a:endParaRPr lang="es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60" name="Marcador de texto 1">
            <a:extLst>
              <a:ext uri="{FF2B5EF4-FFF2-40B4-BE49-F238E27FC236}">
                <a16:creationId xmlns:a16="http://schemas.microsoft.com/office/drawing/2014/main" id="{9EAC3135-6CFE-6D56-6940-3D4166520A9C}"/>
              </a:ext>
            </a:extLst>
          </p:cNvPr>
          <p:cNvSpPr txBox="1">
            <a:spLocks/>
          </p:cNvSpPr>
          <p:nvPr/>
        </p:nvSpPr>
        <p:spPr>
          <a:xfrm>
            <a:off x="10557871" y="4179100"/>
            <a:ext cx="1269537" cy="11719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100" b="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b="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lang="en-US" sz="1100" b="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lang="en-US" sz="1100" b="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100" b="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67300" indent="-132300" algn="l" defTabSz="685800" rtl="0" eaLnBrk="1" latinLnBrk="0" hangingPunct="1"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7300" indent="-132300" algn="l" defTabSz="685800" rtl="0" eaLnBrk="1" latinLnBrk="0" hangingPunct="1"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-132300" algn="l" defTabSz="685800" rtl="0" eaLnBrk="1" latinLnBrk="0" hangingPunct="1"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7300" indent="-132300" algn="l" defTabSz="685800" rtl="0" eaLnBrk="1" latinLnBrk="0" hangingPunct="1"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rificación documento identidad</a:t>
            </a:r>
          </a:p>
        </p:txBody>
      </p:sp>
      <p:sp>
        <p:nvSpPr>
          <p:cNvPr id="67" name="Marcador de texto 1">
            <a:extLst>
              <a:ext uri="{FF2B5EF4-FFF2-40B4-BE49-F238E27FC236}">
                <a16:creationId xmlns:a16="http://schemas.microsoft.com/office/drawing/2014/main" id="{4BD8AAF3-013E-D347-9385-77EF7CB2D488}"/>
              </a:ext>
            </a:extLst>
          </p:cNvPr>
          <p:cNvSpPr txBox="1">
            <a:spLocks/>
          </p:cNvSpPr>
          <p:nvPr/>
        </p:nvSpPr>
        <p:spPr>
          <a:xfrm>
            <a:off x="10377766" y="2566977"/>
            <a:ext cx="1290974" cy="528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100" b="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b="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lang="en-US" sz="1100" b="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lang="en-US" sz="1100" b="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100" b="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67300" indent="-132300" algn="l" defTabSz="685800" rtl="0" eaLnBrk="1" latinLnBrk="0" hangingPunct="1"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7300" indent="-132300" algn="l" defTabSz="685800" rtl="0" eaLnBrk="1" latinLnBrk="0" hangingPunct="1"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-132300" algn="l" defTabSz="685800" rtl="0" eaLnBrk="1" latinLnBrk="0" hangingPunct="1"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7300" indent="-132300" algn="l" defTabSz="685800" rtl="0" eaLnBrk="1" latinLnBrk="0" hangingPunct="1"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rificación del email</a:t>
            </a:r>
          </a:p>
        </p:txBody>
      </p:sp>
      <p:sp>
        <p:nvSpPr>
          <p:cNvPr id="77" name="Marcador de texto 1">
            <a:extLst>
              <a:ext uri="{FF2B5EF4-FFF2-40B4-BE49-F238E27FC236}">
                <a16:creationId xmlns:a16="http://schemas.microsoft.com/office/drawing/2014/main" id="{9631B292-B265-CB28-1848-5308392F0E50}"/>
              </a:ext>
            </a:extLst>
          </p:cNvPr>
          <p:cNvSpPr txBox="1">
            <a:spLocks/>
          </p:cNvSpPr>
          <p:nvPr/>
        </p:nvSpPr>
        <p:spPr>
          <a:xfrm>
            <a:off x="7518378" y="5005042"/>
            <a:ext cx="1202799" cy="2230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100" b="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b="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lang="en-US" sz="1100" b="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lang="en-US" sz="1100" b="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100" b="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67300" indent="-132300" algn="l" defTabSz="685800" rtl="0" eaLnBrk="1" latinLnBrk="0" hangingPunct="1"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7300" indent="-132300" algn="l" defTabSz="685800" rtl="0" eaLnBrk="1" latinLnBrk="0" hangingPunct="1"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-132300" algn="l" defTabSz="685800" rtl="0" eaLnBrk="1" latinLnBrk="0" hangingPunct="1"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7300" indent="-132300" algn="l" defTabSz="685800" rtl="0" eaLnBrk="1" latinLnBrk="0" hangingPunct="1"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Pct val="100000"/>
              <a:buFontTx/>
              <a:buNone/>
              <a:tabLst/>
              <a:defRPr/>
            </a:pPr>
            <a:r>
              <a:rPr lang="es" sz="1200" b="1" dirty="0">
                <a:solidFill>
                  <a:prstClr val="white"/>
                </a:solidFill>
              </a:rPr>
              <a:t>Resolución de la solicitud de PIN Salud</a:t>
            </a:r>
            <a:endParaRPr kumimoji="0" lang="e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9CCF8DF-5E93-7B07-0A97-B382E3F6A45E}"/>
              </a:ext>
            </a:extLst>
          </p:cNvPr>
          <p:cNvSpPr txBox="1">
            <a:spLocks/>
          </p:cNvSpPr>
          <p:nvPr/>
        </p:nvSpPr>
        <p:spPr>
          <a:xfrm>
            <a:off x="484481" y="834325"/>
            <a:ext cx="50338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rgbClr val="DFA726"/>
                </a:solidFill>
                <a:latin typeface="Trebuchet MS"/>
                <a:cs typeface="Trebuchet MS"/>
              </a:defRPr>
            </a:lvl1pPr>
            <a:lvl2pPr marL="179388" indent="-179388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2pPr>
            <a:lvl3pPr marL="360363" indent="-180975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900" b="0" kern="120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3pPr>
            <a:lvl4pPr marL="538163" indent="-1778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900" b="0" kern="1200" baseline="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4pPr>
            <a:lvl5pPr marL="717550" indent="-179388" algn="l" defTabSz="5988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900" b="0" kern="1200" baseline="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a-ES" b="1" dirty="0"/>
              <a:t>FASES DEL PROCESO </a:t>
            </a:r>
            <a:r>
              <a:rPr lang="ca-ES" dirty="0"/>
              <a:t>| </a:t>
            </a:r>
            <a:r>
              <a:rPr lang="ca-ES" dirty="0">
                <a:solidFill>
                  <a:srgbClr val="012169"/>
                </a:solidFill>
              </a:rPr>
              <a:t>Visión global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2500" y="1134737"/>
            <a:ext cx="5764908" cy="4844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86587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5BEABD7-4DB6-86E8-6206-EC5F5CB2B6C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1507" b="36034"/>
          <a:stretch>
            <a:fillRect/>
          </a:stretch>
        </p:blipFill>
        <p:spPr>
          <a:xfrm>
            <a:off x="659759" y="3354528"/>
            <a:ext cx="2850473" cy="2406885"/>
          </a:xfrm>
          <a:prstGeom prst="rect">
            <a:avLst/>
          </a:prstGeom>
          <a:ln w="6350">
            <a:solidFill>
              <a:srgbClr val="012169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E7C63B3-74D1-1995-45EF-4090C3DEACB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6782"/>
          <a:stretch>
            <a:fillRect/>
          </a:stretch>
        </p:blipFill>
        <p:spPr>
          <a:xfrm>
            <a:off x="3662723" y="3354528"/>
            <a:ext cx="2413256" cy="808146"/>
          </a:xfrm>
          <a:prstGeom prst="rect">
            <a:avLst/>
          </a:prstGeom>
          <a:ln w="6350">
            <a:noFill/>
          </a:ln>
        </p:spPr>
      </p:pic>
      <p:sp>
        <p:nvSpPr>
          <p:cNvPr id="14" name="object 14">
            <a:extLst>
              <a:ext uri="{FF2B5EF4-FFF2-40B4-BE49-F238E27FC236}">
                <a16:creationId xmlns:a16="http://schemas.microsoft.com/office/drawing/2014/main" id="{6A001354-33D0-0B06-D723-5B7247A51B10}"/>
              </a:ext>
            </a:extLst>
          </p:cNvPr>
          <p:cNvSpPr txBox="1"/>
          <p:nvPr/>
        </p:nvSpPr>
        <p:spPr>
          <a:xfrm>
            <a:off x="7112372" y="2083098"/>
            <a:ext cx="414054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0" algn="just">
              <a:buFont typeface="Wingdings" panose="05000000000000000000" pitchFamily="2" charset="2"/>
              <a:buNone/>
              <a:defRPr sz="1200" b="1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r>
              <a:rPr lang="es-ES" dirty="0">
                <a:solidFill>
                  <a:srgbClr val="012169"/>
                </a:solidFill>
              </a:rPr>
              <a:t>FUNCIONALIDADES PRINCIPALES </a:t>
            </a: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84D7B7C6-1FAA-13C0-B908-8333FD174C0C}"/>
              </a:ext>
            </a:extLst>
          </p:cNvPr>
          <p:cNvSpPr txBox="1"/>
          <p:nvPr/>
        </p:nvSpPr>
        <p:spPr>
          <a:xfrm>
            <a:off x="7858327" y="4394212"/>
            <a:ext cx="3394586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0" algn="just">
              <a:buFont typeface="Wingdings" panose="05000000000000000000" pitchFamily="2" charset="2"/>
              <a:buNone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r>
              <a:rPr lang="es-AR" dirty="0">
                <a:solidFill>
                  <a:srgbClr val="012169"/>
                </a:solidFill>
              </a:rPr>
              <a:t>Soporte para configuración de textos legales por idioma, adaptando el contenido al usuario</a:t>
            </a:r>
            <a:endParaRPr lang="es-ES" dirty="0">
              <a:solidFill>
                <a:srgbClr val="012169"/>
              </a:solidFill>
            </a:endParaRPr>
          </a:p>
        </p:txBody>
      </p:sp>
      <p:sp>
        <p:nvSpPr>
          <p:cNvPr id="20" name="object 14">
            <a:extLst>
              <a:ext uri="{FF2B5EF4-FFF2-40B4-BE49-F238E27FC236}">
                <a16:creationId xmlns:a16="http://schemas.microsoft.com/office/drawing/2014/main" id="{6390CBFA-7211-18D9-3FE8-6B70BD6517E6}"/>
              </a:ext>
            </a:extLst>
          </p:cNvPr>
          <p:cNvSpPr txBox="1"/>
          <p:nvPr/>
        </p:nvSpPr>
        <p:spPr>
          <a:xfrm>
            <a:off x="7858328" y="5243943"/>
            <a:ext cx="3394586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0" algn="just">
              <a:buFont typeface="Wingdings" panose="05000000000000000000" pitchFamily="2" charset="2"/>
              <a:buNone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r>
              <a:rPr lang="es-AR" dirty="0">
                <a:solidFill>
                  <a:srgbClr val="012169"/>
                </a:solidFill>
              </a:rPr>
              <a:t>Garantiza el cumplimiento normativo y la validez del proceso de identificación.</a:t>
            </a:r>
            <a:endParaRPr lang="es-ES" dirty="0">
              <a:solidFill>
                <a:srgbClr val="012169"/>
              </a:solidFill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03A3372-44D0-9CF1-27FD-93542105CB0E}"/>
              </a:ext>
            </a:extLst>
          </p:cNvPr>
          <p:cNvCxnSpPr>
            <a:cxnSpLocks/>
          </p:cNvCxnSpPr>
          <p:nvPr/>
        </p:nvCxnSpPr>
        <p:spPr>
          <a:xfrm>
            <a:off x="7112372" y="2445985"/>
            <a:ext cx="4183200" cy="0"/>
          </a:xfrm>
          <a:prstGeom prst="line">
            <a:avLst/>
          </a:prstGeom>
          <a:ln w="9525">
            <a:solidFill>
              <a:srgbClr val="FDC124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ject 14">
            <a:extLst>
              <a:ext uri="{FF2B5EF4-FFF2-40B4-BE49-F238E27FC236}">
                <a16:creationId xmlns:a16="http://schemas.microsoft.com/office/drawing/2014/main" id="{5B5F3C41-BA6C-B4DB-EFD0-A0DED30EEBC5}"/>
              </a:ext>
            </a:extLst>
          </p:cNvPr>
          <p:cNvSpPr txBox="1"/>
          <p:nvPr/>
        </p:nvSpPr>
        <p:spPr>
          <a:xfrm>
            <a:off x="7858328" y="2664978"/>
            <a:ext cx="347334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0" algn="just">
              <a:buFont typeface="Wingdings" panose="05000000000000000000" pitchFamily="2" charset="2"/>
              <a:buNone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algn="l"/>
            <a:r>
              <a:rPr lang="es-ES" dirty="0">
                <a:solidFill>
                  <a:srgbClr val="012169"/>
                </a:solidFill>
              </a:rPr>
              <a:t>Presentación obligatoria de los términos y condiciones legales al usuario antes de continuar el proceso</a:t>
            </a:r>
          </a:p>
        </p:txBody>
      </p:sp>
      <p:grpSp>
        <p:nvGrpSpPr>
          <p:cNvPr id="31" name="Graphic 4">
            <a:extLst>
              <a:ext uri="{FF2B5EF4-FFF2-40B4-BE49-F238E27FC236}">
                <a16:creationId xmlns:a16="http://schemas.microsoft.com/office/drawing/2014/main" id="{265C768B-CD38-7A11-ACEE-9F91D7D2B617}"/>
              </a:ext>
            </a:extLst>
          </p:cNvPr>
          <p:cNvGrpSpPr/>
          <p:nvPr/>
        </p:nvGrpSpPr>
        <p:grpSpPr>
          <a:xfrm>
            <a:off x="7190607" y="2638727"/>
            <a:ext cx="468000" cy="468000"/>
            <a:chOff x="467104" y="918179"/>
            <a:chExt cx="362309" cy="361971"/>
          </a:xfrm>
          <a:solidFill>
            <a:srgbClr val="012169"/>
          </a:solidFill>
        </p:grpSpPr>
        <p:sp>
          <p:nvSpPr>
            <p:cNvPr id="32" name="Graphic 4">
              <a:extLst>
                <a:ext uri="{FF2B5EF4-FFF2-40B4-BE49-F238E27FC236}">
                  <a16:creationId xmlns:a16="http://schemas.microsoft.com/office/drawing/2014/main" id="{0E369772-ED30-A23C-C62A-2EDBBB6DFA71}"/>
                </a:ext>
              </a:extLst>
            </p:cNvPr>
            <p:cNvSpPr/>
            <p:nvPr/>
          </p:nvSpPr>
          <p:spPr>
            <a:xfrm>
              <a:off x="467104" y="918179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1305 h 361971"/>
                <a:gd name="connsiteX2" fmla="*/ 181474 w 362309"/>
                <a:gd name="connsiteY2" fmla="*/ 361972 h 361971"/>
                <a:gd name="connsiteX3" fmla="*/ 362309 w 362309"/>
                <a:gd name="connsiteY3" fmla="*/ 181305 h 361971"/>
                <a:gd name="connsiteX4" fmla="*/ 181474 w 362309"/>
                <a:gd name="connsiteY4" fmla="*/ 0 h 361971"/>
                <a:gd name="connsiteX5" fmla="*/ 181474 w 362309"/>
                <a:gd name="connsiteY5" fmla="*/ 0 h 361971"/>
                <a:gd name="connsiteX6" fmla="*/ 181474 w 362309"/>
                <a:gd name="connsiteY6" fmla="*/ 349204 h 361971"/>
                <a:gd name="connsiteX7" fmla="*/ 13419 w 362309"/>
                <a:gd name="connsiteY7" fmla="*/ 180667 h 361971"/>
                <a:gd name="connsiteX8" fmla="*/ 181474 w 362309"/>
                <a:gd name="connsiteY8" fmla="*/ 12768 h 361971"/>
                <a:gd name="connsiteX9" fmla="*/ 349530 w 362309"/>
                <a:gd name="connsiteY9" fmla="*/ 180667 h 361971"/>
                <a:gd name="connsiteX10" fmla="*/ 181474 w 362309"/>
                <a:gd name="connsiteY10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1474" y="361972"/>
                  </a:cubicBezTo>
                  <a:cubicBezTo>
                    <a:pt x="281796" y="361972"/>
                    <a:pt x="362309" y="280895"/>
                    <a:pt x="362309" y="181305"/>
                  </a:cubicBezTo>
                  <a:cubicBezTo>
                    <a:pt x="362309" y="81077"/>
                    <a:pt x="281796" y="0"/>
                    <a:pt x="181474" y="0"/>
                  </a:cubicBezTo>
                  <a:cubicBezTo>
                    <a:pt x="181474" y="0"/>
                    <a:pt x="181474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3419" y="273873"/>
                    <a:pt x="13419" y="180667"/>
                  </a:cubicBezTo>
                  <a:cubicBezTo>
                    <a:pt x="13419" y="87461"/>
                    <a:pt x="88820" y="12768"/>
                    <a:pt x="181474" y="12768"/>
                  </a:cubicBezTo>
                  <a:cubicBezTo>
                    <a:pt x="274128" y="12768"/>
                    <a:pt x="349530" y="88099"/>
                    <a:pt x="349530" y="180667"/>
                  </a:cubicBezTo>
                  <a:cubicBezTo>
                    <a:pt x="349530" y="273873"/>
                    <a:pt x="274128" y="349204"/>
                    <a:pt x="181474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33" name="Graphic 4">
              <a:extLst>
                <a:ext uri="{FF2B5EF4-FFF2-40B4-BE49-F238E27FC236}">
                  <a16:creationId xmlns:a16="http://schemas.microsoft.com/office/drawing/2014/main" id="{90D164E3-43CE-8065-3D3B-91771D1D0A12}"/>
                </a:ext>
              </a:extLst>
            </p:cNvPr>
            <p:cNvSpPr/>
            <p:nvPr/>
          </p:nvSpPr>
          <p:spPr>
            <a:xfrm>
              <a:off x="552594" y="1003724"/>
              <a:ext cx="190800" cy="203010"/>
            </a:xfrm>
            <a:custGeom>
              <a:avLst/>
              <a:gdLst>
                <a:gd name="connsiteX0" fmla="*/ 186721 w 190800"/>
                <a:gd name="connsiteY0" fmla="*/ 15322 h 203010"/>
                <a:gd name="connsiteX1" fmla="*/ 180970 w 190800"/>
                <a:gd name="connsiteY1" fmla="*/ 15322 h 203010"/>
                <a:gd name="connsiteX2" fmla="*/ 100457 w 190800"/>
                <a:gd name="connsiteY2" fmla="*/ 1915 h 203010"/>
                <a:gd name="connsiteX3" fmla="*/ 91511 w 190800"/>
                <a:gd name="connsiteY3" fmla="*/ 1915 h 203010"/>
                <a:gd name="connsiteX4" fmla="*/ 10998 w 190800"/>
                <a:gd name="connsiteY4" fmla="*/ 15322 h 203010"/>
                <a:gd name="connsiteX5" fmla="*/ 2052 w 190800"/>
                <a:gd name="connsiteY5" fmla="*/ 17875 h 203010"/>
                <a:gd name="connsiteX6" fmla="*/ 1413 w 190800"/>
                <a:gd name="connsiteY6" fmla="*/ 20429 h 203010"/>
                <a:gd name="connsiteX7" fmla="*/ 92789 w 190800"/>
                <a:gd name="connsiteY7" fmla="*/ 202372 h 203010"/>
                <a:gd name="connsiteX8" fmla="*/ 93428 w 190800"/>
                <a:gd name="connsiteY8" fmla="*/ 203011 h 203010"/>
                <a:gd name="connsiteX9" fmla="*/ 94067 w 190800"/>
                <a:gd name="connsiteY9" fmla="*/ 203011 h 203010"/>
                <a:gd name="connsiteX10" fmla="*/ 95345 w 190800"/>
                <a:gd name="connsiteY10" fmla="*/ 203011 h 203010"/>
                <a:gd name="connsiteX11" fmla="*/ 95345 w 190800"/>
                <a:gd name="connsiteY11" fmla="*/ 203011 h 203010"/>
                <a:gd name="connsiteX12" fmla="*/ 96623 w 190800"/>
                <a:gd name="connsiteY12" fmla="*/ 203011 h 203010"/>
                <a:gd name="connsiteX13" fmla="*/ 97262 w 190800"/>
                <a:gd name="connsiteY13" fmla="*/ 203011 h 203010"/>
                <a:gd name="connsiteX14" fmla="*/ 97901 w 190800"/>
                <a:gd name="connsiteY14" fmla="*/ 202372 h 203010"/>
                <a:gd name="connsiteX15" fmla="*/ 189277 w 190800"/>
                <a:gd name="connsiteY15" fmla="*/ 20429 h 203010"/>
                <a:gd name="connsiteX16" fmla="*/ 186721 w 190800"/>
                <a:gd name="connsiteY16" fmla="*/ 15322 h 203010"/>
                <a:gd name="connsiteX17" fmla="*/ 13554 w 190800"/>
                <a:gd name="connsiteY17" fmla="*/ 30643 h 203010"/>
                <a:gd name="connsiteX18" fmla="*/ 95984 w 190800"/>
                <a:gd name="connsiteY18" fmla="*/ 15322 h 203010"/>
                <a:gd name="connsiteX19" fmla="*/ 126655 w 190800"/>
                <a:gd name="connsiteY19" fmla="*/ 32558 h 203010"/>
                <a:gd name="connsiteX20" fmla="*/ 33362 w 190800"/>
                <a:gd name="connsiteY20" fmla="*/ 125764 h 203010"/>
                <a:gd name="connsiteX21" fmla="*/ 13554 w 190800"/>
                <a:gd name="connsiteY21" fmla="*/ 30643 h 203010"/>
                <a:gd name="connsiteX22" fmla="*/ 13554 w 190800"/>
                <a:gd name="connsiteY22" fmla="*/ 30643 h 203010"/>
                <a:gd name="connsiteX23" fmla="*/ 48059 w 190800"/>
                <a:gd name="connsiteY23" fmla="*/ 147470 h 203010"/>
                <a:gd name="connsiteX24" fmla="*/ 40391 w 190800"/>
                <a:gd name="connsiteY24" fmla="*/ 136617 h 203010"/>
                <a:gd name="connsiteX25" fmla="*/ 141991 w 190800"/>
                <a:gd name="connsiteY25" fmla="*/ 35112 h 203010"/>
                <a:gd name="connsiteX26" fmla="*/ 161161 w 190800"/>
                <a:gd name="connsiteY26" fmla="*/ 34474 h 203010"/>
                <a:gd name="connsiteX27" fmla="*/ 48059 w 190800"/>
                <a:gd name="connsiteY27" fmla="*/ 147470 h 203010"/>
                <a:gd name="connsiteX28" fmla="*/ 95345 w 190800"/>
                <a:gd name="connsiteY28" fmla="*/ 189604 h 203010"/>
                <a:gd name="connsiteX29" fmla="*/ 55727 w 190800"/>
                <a:gd name="connsiteY29" fmla="*/ 157684 h 203010"/>
                <a:gd name="connsiteX30" fmla="*/ 177775 w 190800"/>
                <a:gd name="connsiteY30" fmla="*/ 35750 h 203010"/>
                <a:gd name="connsiteX31" fmla="*/ 95345 w 190800"/>
                <a:gd name="connsiteY31" fmla="*/ 189604 h 203010"/>
                <a:gd name="connsiteX32" fmla="*/ 95345 w 190800"/>
                <a:gd name="connsiteY32" fmla="*/ 189604 h 203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90800" h="203010">
                  <a:moveTo>
                    <a:pt x="186721" y="15322"/>
                  </a:moveTo>
                  <a:cubicBezTo>
                    <a:pt x="184804" y="14045"/>
                    <a:pt x="182248" y="14045"/>
                    <a:pt x="180970" y="15322"/>
                  </a:cubicBezTo>
                  <a:cubicBezTo>
                    <a:pt x="154132" y="29366"/>
                    <a:pt x="121543" y="23621"/>
                    <a:pt x="100457" y="1915"/>
                  </a:cubicBezTo>
                  <a:cubicBezTo>
                    <a:pt x="97901" y="-638"/>
                    <a:pt x="94067" y="-638"/>
                    <a:pt x="91511" y="1915"/>
                  </a:cubicBezTo>
                  <a:cubicBezTo>
                    <a:pt x="71063" y="24259"/>
                    <a:pt x="37835" y="29366"/>
                    <a:pt x="10998" y="15322"/>
                  </a:cubicBezTo>
                  <a:cubicBezTo>
                    <a:pt x="7803" y="13406"/>
                    <a:pt x="3969" y="14683"/>
                    <a:pt x="2052" y="17875"/>
                  </a:cubicBezTo>
                  <a:cubicBezTo>
                    <a:pt x="1413" y="18514"/>
                    <a:pt x="1413" y="19152"/>
                    <a:pt x="1413" y="20429"/>
                  </a:cubicBezTo>
                  <a:cubicBezTo>
                    <a:pt x="-13284" y="146193"/>
                    <a:pt x="91511" y="201734"/>
                    <a:pt x="92789" y="202372"/>
                  </a:cubicBezTo>
                  <a:lnTo>
                    <a:pt x="93428" y="203011"/>
                  </a:lnTo>
                  <a:lnTo>
                    <a:pt x="94067" y="203011"/>
                  </a:lnTo>
                  <a:lnTo>
                    <a:pt x="95345" y="203011"/>
                  </a:lnTo>
                  <a:lnTo>
                    <a:pt x="95345" y="203011"/>
                  </a:lnTo>
                  <a:lnTo>
                    <a:pt x="96623" y="203011"/>
                  </a:lnTo>
                  <a:lnTo>
                    <a:pt x="97262" y="203011"/>
                  </a:lnTo>
                  <a:lnTo>
                    <a:pt x="97901" y="202372"/>
                  </a:lnTo>
                  <a:cubicBezTo>
                    <a:pt x="99179" y="201734"/>
                    <a:pt x="204613" y="146193"/>
                    <a:pt x="189277" y="20429"/>
                  </a:cubicBezTo>
                  <a:cubicBezTo>
                    <a:pt x="189916" y="17875"/>
                    <a:pt x="188638" y="15960"/>
                    <a:pt x="186721" y="15322"/>
                  </a:cubicBezTo>
                  <a:close/>
                  <a:moveTo>
                    <a:pt x="13554" y="30643"/>
                  </a:moveTo>
                  <a:cubicBezTo>
                    <a:pt x="41669" y="41496"/>
                    <a:pt x="73619" y="35750"/>
                    <a:pt x="95984" y="15322"/>
                  </a:cubicBezTo>
                  <a:cubicBezTo>
                    <a:pt x="104930" y="23621"/>
                    <a:pt x="115154" y="29366"/>
                    <a:pt x="126655" y="32558"/>
                  </a:cubicBezTo>
                  <a:lnTo>
                    <a:pt x="33362" y="125764"/>
                  </a:lnTo>
                  <a:cubicBezTo>
                    <a:pt x="17387" y="96398"/>
                    <a:pt x="10359" y="63201"/>
                    <a:pt x="13554" y="30643"/>
                  </a:cubicBezTo>
                  <a:lnTo>
                    <a:pt x="13554" y="30643"/>
                  </a:lnTo>
                  <a:close/>
                  <a:moveTo>
                    <a:pt x="48059" y="147470"/>
                  </a:moveTo>
                  <a:cubicBezTo>
                    <a:pt x="45503" y="144278"/>
                    <a:pt x="42947" y="140448"/>
                    <a:pt x="40391" y="136617"/>
                  </a:cubicBezTo>
                  <a:lnTo>
                    <a:pt x="141991" y="35112"/>
                  </a:lnTo>
                  <a:cubicBezTo>
                    <a:pt x="148381" y="35750"/>
                    <a:pt x="154771" y="35112"/>
                    <a:pt x="161161" y="34474"/>
                  </a:cubicBezTo>
                  <a:lnTo>
                    <a:pt x="48059" y="147470"/>
                  </a:lnTo>
                  <a:close/>
                  <a:moveTo>
                    <a:pt x="95345" y="189604"/>
                  </a:moveTo>
                  <a:cubicBezTo>
                    <a:pt x="80648" y="180667"/>
                    <a:pt x="67229" y="170452"/>
                    <a:pt x="55727" y="157684"/>
                  </a:cubicBezTo>
                  <a:lnTo>
                    <a:pt x="177775" y="35750"/>
                  </a:lnTo>
                  <a:cubicBezTo>
                    <a:pt x="183526" y="132787"/>
                    <a:pt x="111959" y="180667"/>
                    <a:pt x="95345" y="189604"/>
                  </a:cubicBezTo>
                  <a:lnTo>
                    <a:pt x="95345" y="1896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</p:grpSp>
      <p:sp>
        <p:nvSpPr>
          <p:cNvPr id="17" name="object 14">
            <a:extLst>
              <a:ext uri="{FF2B5EF4-FFF2-40B4-BE49-F238E27FC236}">
                <a16:creationId xmlns:a16="http://schemas.microsoft.com/office/drawing/2014/main" id="{FEB992CF-F65A-AE70-BF57-06FD09BC941E}"/>
              </a:ext>
            </a:extLst>
          </p:cNvPr>
          <p:cNvSpPr txBox="1"/>
          <p:nvPr/>
        </p:nvSpPr>
        <p:spPr>
          <a:xfrm>
            <a:off x="7858327" y="3515527"/>
            <a:ext cx="347334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0" algn="just">
              <a:buFont typeface="Wingdings" panose="05000000000000000000" pitchFamily="2" charset="2"/>
              <a:buNone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algn="l"/>
            <a:r>
              <a:rPr lang="es-ES" dirty="0">
                <a:solidFill>
                  <a:srgbClr val="012169"/>
                </a:solidFill>
              </a:rPr>
              <a:t>Inclusión de enlaces a documentación legal complementaria </a:t>
            </a:r>
          </a:p>
        </p:txBody>
      </p:sp>
      <p:grpSp>
        <p:nvGrpSpPr>
          <p:cNvPr id="36" name="Graphic 4">
            <a:extLst>
              <a:ext uri="{FF2B5EF4-FFF2-40B4-BE49-F238E27FC236}">
                <a16:creationId xmlns:a16="http://schemas.microsoft.com/office/drawing/2014/main" id="{429FDC02-5CE2-DECE-BFB7-25E4A31BF372}"/>
              </a:ext>
            </a:extLst>
          </p:cNvPr>
          <p:cNvGrpSpPr/>
          <p:nvPr/>
        </p:nvGrpSpPr>
        <p:grpSpPr>
          <a:xfrm>
            <a:off x="7190607" y="3489276"/>
            <a:ext cx="468000" cy="468000"/>
            <a:chOff x="3607758" y="3339623"/>
            <a:chExt cx="361674" cy="361333"/>
          </a:xfrm>
          <a:solidFill>
            <a:srgbClr val="012169"/>
          </a:solidFill>
        </p:grpSpPr>
        <p:sp>
          <p:nvSpPr>
            <p:cNvPr id="37" name="Graphic 4">
              <a:extLst>
                <a:ext uri="{FF2B5EF4-FFF2-40B4-BE49-F238E27FC236}">
                  <a16:creationId xmlns:a16="http://schemas.microsoft.com/office/drawing/2014/main" id="{320098F7-A0E0-6616-022B-4089BCEDAADB}"/>
                </a:ext>
              </a:extLst>
            </p:cNvPr>
            <p:cNvSpPr/>
            <p:nvPr/>
          </p:nvSpPr>
          <p:spPr>
            <a:xfrm>
              <a:off x="3607758" y="3339623"/>
              <a:ext cx="361674" cy="361333"/>
            </a:xfrm>
            <a:custGeom>
              <a:avLst/>
              <a:gdLst>
                <a:gd name="connsiteX0" fmla="*/ 180836 w 361674"/>
                <a:gd name="connsiteY0" fmla="*/ 0 h 361333"/>
                <a:gd name="connsiteX1" fmla="*/ 0 w 361674"/>
                <a:gd name="connsiteY1" fmla="*/ 180667 h 361333"/>
                <a:gd name="connsiteX2" fmla="*/ 180836 w 361674"/>
                <a:gd name="connsiteY2" fmla="*/ 361333 h 361333"/>
                <a:gd name="connsiteX3" fmla="*/ 361671 w 361674"/>
                <a:gd name="connsiteY3" fmla="*/ 180667 h 361333"/>
                <a:gd name="connsiteX4" fmla="*/ 180836 w 361674"/>
                <a:gd name="connsiteY4" fmla="*/ 0 h 361333"/>
                <a:gd name="connsiteX5" fmla="*/ 180836 w 361674"/>
                <a:gd name="connsiteY5" fmla="*/ 349204 h 361333"/>
                <a:gd name="connsiteX6" fmla="*/ 12780 w 361674"/>
                <a:gd name="connsiteY6" fmla="*/ 181305 h 361333"/>
                <a:gd name="connsiteX7" fmla="*/ 180836 w 361674"/>
                <a:gd name="connsiteY7" fmla="*/ 13406 h 361333"/>
                <a:gd name="connsiteX8" fmla="*/ 348891 w 361674"/>
                <a:gd name="connsiteY8" fmla="*/ 181305 h 361333"/>
                <a:gd name="connsiteX9" fmla="*/ 180836 w 361674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4" h="361333">
                  <a:moveTo>
                    <a:pt x="180836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333"/>
                    <a:pt x="180836" y="361333"/>
                  </a:cubicBezTo>
                  <a:cubicBezTo>
                    <a:pt x="280518" y="361333"/>
                    <a:pt x="361671" y="280257"/>
                    <a:pt x="361671" y="180667"/>
                  </a:cubicBezTo>
                  <a:cubicBezTo>
                    <a:pt x="362310" y="81077"/>
                    <a:pt x="281157" y="0"/>
                    <a:pt x="180836" y="0"/>
                  </a:cubicBezTo>
                  <a:close/>
                  <a:moveTo>
                    <a:pt x="180836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8"/>
                    <a:pt x="88181" y="13406"/>
                    <a:pt x="180836" y="13406"/>
                  </a:cubicBezTo>
                  <a:cubicBezTo>
                    <a:pt x="273490" y="13406"/>
                    <a:pt x="348891" y="88738"/>
                    <a:pt x="348891" y="181305"/>
                  </a:cubicBezTo>
                  <a:cubicBezTo>
                    <a:pt x="349530" y="273873"/>
                    <a:pt x="274128" y="349204"/>
                    <a:pt x="180836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38" name="Graphic 4">
              <a:extLst>
                <a:ext uri="{FF2B5EF4-FFF2-40B4-BE49-F238E27FC236}">
                  <a16:creationId xmlns:a16="http://schemas.microsoft.com/office/drawing/2014/main" id="{E0A26FC1-F87A-5BFE-6EF6-0EF4C826071D}"/>
                </a:ext>
              </a:extLst>
            </p:cNvPr>
            <p:cNvSpPr/>
            <p:nvPr/>
          </p:nvSpPr>
          <p:spPr>
            <a:xfrm>
              <a:off x="3680603" y="3444959"/>
              <a:ext cx="217257" cy="151938"/>
            </a:xfrm>
            <a:custGeom>
              <a:avLst/>
              <a:gdLst>
                <a:gd name="connsiteX0" fmla="*/ 189142 w 217257"/>
                <a:gd name="connsiteY0" fmla="*/ 0 h 151938"/>
                <a:gd name="connsiteX1" fmla="*/ 161027 w 217257"/>
                <a:gd name="connsiteY1" fmla="*/ 28090 h 151938"/>
                <a:gd name="connsiteX2" fmla="*/ 169333 w 217257"/>
                <a:gd name="connsiteY2" fmla="*/ 48518 h 151938"/>
                <a:gd name="connsiteX3" fmla="*/ 139301 w 217257"/>
                <a:gd name="connsiteY3" fmla="*/ 97037 h 151938"/>
                <a:gd name="connsiteX4" fmla="*/ 130355 w 217257"/>
                <a:gd name="connsiteY4" fmla="*/ 95760 h 151938"/>
                <a:gd name="connsiteX5" fmla="*/ 122687 w 217257"/>
                <a:gd name="connsiteY5" fmla="*/ 97037 h 151938"/>
                <a:gd name="connsiteX6" fmla="*/ 97766 w 217257"/>
                <a:gd name="connsiteY6" fmla="*/ 50434 h 151938"/>
                <a:gd name="connsiteX7" fmla="*/ 107351 w 217257"/>
                <a:gd name="connsiteY7" fmla="*/ 29366 h 151938"/>
                <a:gd name="connsiteX8" fmla="*/ 79235 w 217257"/>
                <a:gd name="connsiteY8" fmla="*/ 1277 h 151938"/>
                <a:gd name="connsiteX9" fmla="*/ 51119 w 217257"/>
                <a:gd name="connsiteY9" fmla="*/ 29366 h 151938"/>
                <a:gd name="connsiteX10" fmla="*/ 60704 w 217257"/>
                <a:gd name="connsiteY10" fmla="*/ 50434 h 151938"/>
                <a:gd name="connsiteX11" fmla="*/ 35783 w 217257"/>
                <a:gd name="connsiteY11" fmla="*/ 97037 h 151938"/>
                <a:gd name="connsiteX12" fmla="*/ 28116 w 217257"/>
                <a:gd name="connsiteY12" fmla="*/ 95760 h 151938"/>
                <a:gd name="connsiteX13" fmla="*/ 0 w 217257"/>
                <a:gd name="connsiteY13" fmla="*/ 123849 h 151938"/>
                <a:gd name="connsiteX14" fmla="*/ 28116 w 217257"/>
                <a:gd name="connsiteY14" fmla="*/ 151939 h 151938"/>
                <a:gd name="connsiteX15" fmla="*/ 56231 w 217257"/>
                <a:gd name="connsiteY15" fmla="*/ 123849 h 151938"/>
                <a:gd name="connsiteX16" fmla="*/ 46646 w 217257"/>
                <a:gd name="connsiteY16" fmla="*/ 102782 h 151938"/>
                <a:gd name="connsiteX17" fmla="*/ 71567 w 217257"/>
                <a:gd name="connsiteY17" fmla="*/ 56179 h 151938"/>
                <a:gd name="connsiteX18" fmla="*/ 79235 w 217257"/>
                <a:gd name="connsiteY18" fmla="*/ 57456 h 151938"/>
                <a:gd name="connsiteX19" fmla="*/ 86903 w 217257"/>
                <a:gd name="connsiteY19" fmla="*/ 56179 h 151938"/>
                <a:gd name="connsiteX20" fmla="*/ 111824 w 217257"/>
                <a:gd name="connsiteY20" fmla="*/ 102782 h 151938"/>
                <a:gd name="connsiteX21" fmla="*/ 102239 w 217257"/>
                <a:gd name="connsiteY21" fmla="*/ 123849 h 151938"/>
                <a:gd name="connsiteX22" fmla="*/ 130355 w 217257"/>
                <a:gd name="connsiteY22" fmla="*/ 151939 h 151938"/>
                <a:gd name="connsiteX23" fmla="*/ 158470 w 217257"/>
                <a:gd name="connsiteY23" fmla="*/ 123849 h 151938"/>
                <a:gd name="connsiteX24" fmla="*/ 150164 w 217257"/>
                <a:gd name="connsiteY24" fmla="*/ 103421 h 151938"/>
                <a:gd name="connsiteX25" fmla="*/ 180196 w 217257"/>
                <a:gd name="connsiteY25" fmla="*/ 54902 h 151938"/>
                <a:gd name="connsiteX26" fmla="*/ 189142 w 217257"/>
                <a:gd name="connsiteY26" fmla="*/ 56179 h 151938"/>
                <a:gd name="connsiteX27" fmla="*/ 217258 w 217257"/>
                <a:gd name="connsiteY27" fmla="*/ 28090 h 151938"/>
                <a:gd name="connsiteX28" fmla="*/ 189142 w 217257"/>
                <a:gd name="connsiteY28" fmla="*/ 0 h 151938"/>
                <a:gd name="connsiteX29" fmla="*/ 27477 w 217257"/>
                <a:gd name="connsiteY29" fmla="*/ 139171 h 151938"/>
                <a:gd name="connsiteX30" fmla="*/ 12141 w 217257"/>
                <a:gd name="connsiteY30" fmla="*/ 123849 h 151938"/>
                <a:gd name="connsiteX31" fmla="*/ 27477 w 217257"/>
                <a:gd name="connsiteY31" fmla="*/ 108528 h 151938"/>
                <a:gd name="connsiteX32" fmla="*/ 42813 w 217257"/>
                <a:gd name="connsiteY32" fmla="*/ 123849 h 151938"/>
                <a:gd name="connsiteX33" fmla="*/ 27477 w 217257"/>
                <a:gd name="connsiteY33" fmla="*/ 139171 h 151938"/>
                <a:gd name="connsiteX34" fmla="*/ 63261 w 217257"/>
                <a:gd name="connsiteY34" fmla="*/ 28090 h 151938"/>
                <a:gd name="connsiteX35" fmla="*/ 78596 w 217257"/>
                <a:gd name="connsiteY35" fmla="*/ 12768 h 151938"/>
                <a:gd name="connsiteX36" fmla="*/ 93932 w 217257"/>
                <a:gd name="connsiteY36" fmla="*/ 28090 h 151938"/>
                <a:gd name="connsiteX37" fmla="*/ 78596 w 217257"/>
                <a:gd name="connsiteY37" fmla="*/ 43411 h 151938"/>
                <a:gd name="connsiteX38" fmla="*/ 63261 w 217257"/>
                <a:gd name="connsiteY38" fmla="*/ 28090 h 151938"/>
                <a:gd name="connsiteX39" fmla="*/ 130355 w 217257"/>
                <a:gd name="connsiteY39" fmla="*/ 139171 h 151938"/>
                <a:gd name="connsiteX40" fmla="*/ 115019 w 217257"/>
                <a:gd name="connsiteY40" fmla="*/ 123849 h 151938"/>
                <a:gd name="connsiteX41" fmla="*/ 130355 w 217257"/>
                <a:gd name="connsiteY41" fmla="*/ 108528 h 151938"/>
                <a:gd name="connsiteX42" fmla="*/ 145690 w 217257"/>
                <a:gd name="connsiteY42" fmla="*/ 123849 h 151938"/>
                <a:gd name="connsiteX43" fmla="*/ 130355 w 217257"/>
                <a:gd name="connsiteY43" fmla="*/ 139171 h 151938"/>
                <a:gd name="connsiteX44" fmla="*/ 189142 w 217257"/>
                <a:gd name="connsiteY44" fmla="*/ 44050 h 151938"/>
                <a:gd name="connsiteX45" fmla="*/ 173806 w 217257"/>
                <a:gd name="connsiteY45" fmla="*/ 28728 h 151938"/>
                <a:gd name="connsiteX46" fmla="*/ 189142 w 217257"/>
                <a:gd name="connsiteY46" fmla="*/ 13406 h 151938"/>
                <a:gd name="connsiteX47" fmla="*/ 204478 w 217257"/>
                <a:gd name="connsiteY47" fmla="*/ 28728 h 151938"/>
                <a:gd name="connsiteX48" fmla="*/ 189142 w 217257"/>
                <a:gd name="connsiteY48" fmla="*/ 44050 h 151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17257" h="151938">
                  <a:moveTo>
                    <a:pt x="189142" y="0"/>
                  </a:moveTo>
                  <a:cubicBezTo>
                    <a:pt x="173167" y="0"/>
                    <a:pt x="161027" y="12768"/>
                    <a:pt x="161027" y="28090"/>
                  </a:cubicBezTo>
                  <a:cubicBezTo>
                    <a:pt x="161027" y="35750"/>
                    <a:pt x="164221" y="43411"/>
                    <a:pt x="169333" y="48518"/>
                  </a:cubicBezTo>
                  <a:lnTo>
                    <a:pt x="139301" y="97037"/>
                  </a:lnTo>
                  <a:cubicBezTo>
                    <a:pt x="136745" y="96398"/>
                    <a:pt x="133550" y="95760"/>
                    <a:pt x="130355" y="95760"/>
                  </a:cubicBezTo>
                  <a:cubicBezTo>
                    <a:pt x="127799" y="95760"/>
                    <a:pt x="125243" y="96398"/>
                    <a:pt x="122687" y="97037"/>
                  </a:cubicBezTo>
                  <a:lnTo>
                    <a:pt x="97766" y="50434"/>
                  </a:lnTo>
                  <a:cubicBezTo>
                    <a:pt x="103517" y="45326"/>
                    <a:pt x="107351" y="37666"/>
                    <a:pt x="107351" y="29366"/>
                  </a:cubicBezTo>
                  <a:cubicBezTo>
                    <a:pt x="107351" y="13406"/>
                    <a:pt x="94571" y="1277"/>
                    <a:pt x="79235" y="1277"/>
                  </a:cubicBezTo>
                  <a:cubicBezTo>
                    <a:pt x="63899" y="1277"/>
                    <a:pt x="51119" y="14045"/>
                    <a:pt x="51119" y="29366"/>
                  </a:cubicBezTo>
                  <a:cubicBezTo>
                    <a:pt x="51119" y="37666"/>
                    <a:pt x="54953" y="45326"/>
                    <a:pt x="60704" y="50434"/>
                  </a:cubicBezTo>
                  <a:lnTo>
                    <a:pt x="35783" y="97037"/>
                  </a:lnTo>
                  <a:cubicBezTo>
                    <a:pt x="33228" y="96398"/>
                    <a:pt x="30672" y="95760"/>
                    <a:pt x="28116" y="95760"/>
                  </a:cubicBezTo>
                  <a:cubicBezTo>
                    <a:pt x="12141" y="95760"/>
                    <a:pt x="0" y="108528"/>
                    <a:pt x="0" y="123849"/>
                  </a:cubicBezTo>
                  <a:cubicBezTo>
                    <a:pt x="0" y="139171"/>
                    <a:pt x="12780" y="151939"/>
                    <a:pt x="28116" y="151939"/>
                  </a:cubicBezTo>
                  <a:cubicBezTo>
                    <a:pt x="43451" y="151939"/>
                    <a:pt x="56231" y="139171"/>
                    <a:pt x="56231" y="123849"/>
                  </a:cubicBezTo>
                  <a:cubicBezTo>
                    <a:pt x="56231" y="115550"/>
                    <a:pt x="52398" y="107889"/>
                    <a:pt x="46646" y="102782"/>
                  </a:cubicBezTo>
                  <a:lnTo>
                    <a:pt x="71567" y="56179"/>
                  </a:lnTo>
                  <a:cubicBezTo>
                    <a:pt x="74123" y="56818"/>
                    <a:pt x="76679" y="57456"/>
                    <a:pt x="79235" y="57456"/>
                  </a:cubicBezTo>
                  <a:cubicBezTo>
                    <a:pt x="81791" y="57456"/>
                    <a:pt x="84347" y="56818"/>
                    <a:pt x="86903" y="56179"/>
                  </a:cubicBezTo>
                  <a:lnTo>
                    <a:pt x="111824" y="102782"/>
                  </a:lnTo>
                  <a:cubicBezTo>
                    <a:pt x="106073" y="107889"/>
                    <a:pt x="102239" y="115550"/>
                    <a:pt x="102239" y="123849"/>
                  </a:cubicBezTo>
                  <a:cubicBezTo>
                    <a:pt x="102239" y="139809"/>
                    <a:pt x="115019" y="151939"/>
                    <a:pt x="130355" y="151939"/>
                  </a:cubicBezTo>
                  <a:cubicBezTo>
                    <a:pt x="145690" y="151939"/>
                    <a:pt x="158470" y="139171"/>
                    <a:pt x="158470" y="123849"/>
                  </a:cubicBezTo>
                  <a:cubicBezTo>
                    <a:pt x="158470" y="116189"/>
                    <a:pt x="155275" y="108528"/>
                    <a:pt x="150164" y="103421"/>
                  </a:cubicBezTo>
                  <a:lnTo>
                    <a:pt x="180196" y="54902"/>
                  </a:lnTo>
                  <a:cubicBezTo>
                    <a:pt x="182752" y="55541"/>
                    <a:pt x="185947" y="56179"/>
                    <a:pt x="189142" y="56179"/>
                  </a:cubicBezTo>
                  <a:cubicBezTo>
                    <a:pt x="204478" y="56179"/>
                    <a:pt x="217258" y="43411"/>
                    <a:pt x="217258" y="28090"/>
                  </a:cubicBezTo>
                  <a:cubicBezTo>
                    <a:pt x="217258" y="12768"/>
                    <a:pt x="204478" y="0"/>
                    <a:pt x="189142" y="0"/>
                  </a:cubicBezTo>
                  <a:close/>
                  <a:moveTo>
                    <a:pt x="27477" y="139171"/>
                  </a:moveTo>
                  <a:cubicBezTo>
                    <a:pt x="19170" y="139171"/>
                    <a:pt x="12141" y="132149"/>
                    <a:pt x="12141" y="123849"/>
                  </a:cubicBezTo>
                  <a:cubicBezTo>
                    <a:pt x="12141" y="115550"/>
                    <a:pt x="19170" y="108528"/>
                    <a:pt x="27477" y="108528"/>
                  </a:cubicBezTo>
                  <a:cubicBezTo>
                    <a:pt x="35783" y="108528"/>
                    <a:pt x="42813" y="115550"/>
                    <a:pt x="42813" y="123849"/>
                  </a:cubicBezTo>
                  <a:cubicBezTo>
                    <a:pt x="42813" y="132149"/>
                    <a:pt x="36423" y="139171"/>
                    <a:pt x="27477" y="139171"/>
                  </a:cubicBezTo>
                  <a:close/>
                  <a:moveTo>
                    <a:pt x="63261" y="28090"/>
                  </a:moveTo>
                  <a:cubicBezTo>
                    <a:pt x="63261" y="19790"/>
                    <a:pt x="70289" y="12768"/>
                    <a:pt x="78596" y="12768"/>
                  </a:cubicBezTo>
                  <a:cubicBezTo>
                    <a:pt x="86903" y="12768"/>
                    <a:pt x="93932" y="19790"/>
                    <a:pt x="93932" y="28090"/>
                  </a:cubicBezTo>
                  <a:cubicBezTo>
                    <a:pt x="93932" y="36389"/>
                    <a:pt x="86903" y="43411"/>
                    <a:pt x="78596" y="43411"/>
                  </a:cubicBezTo>
                  <a:cubicBezTo>
                    <a:pt x="70289" y="43411"/>
                    <a:pt x="63261" y="37027"/>
                    <a:pt x="63261" y="28090"/>
                  </a:cubicBezTo>
                  <a:close/>
                  <a:moveTo>
                    <a:pt x="130355" y="139171"/>
                  </a:moveTo>
                  <a:cubicBezTo>
                    <a:pt x="122048" y="139171"/>
                    <a:pt x="115019" y="132149"/>
                    <a:pt x="115019" y="123849"/>
                  </a:cubicBezTo>
                  <a:cubicBezTo>
                    <a:pt x="115019" y="115550"/>
                    <a:pt x="122048" y="108528"/>
                    <a:pt x="130355" y="108528"/>
                  </a:cubicBezTo>
                  <a:cubicBezTo>
                    <a:pt x="138662" y="108528"/>
                    <a:pt x="145690" y="115550"/>
                    <a:pt x="145690" y="123849"/>
                  </a:cubicBezTo>
                  <a:cubicBezTo>
                    <a:pt x="145690" y="132149"/>
                    <a:pt x="138662" y="139171"/>
                    <a:pt x="130355" y="139171"/>
                  </a:cubicBezTo>
                  <a:close/>
                  <a:moveTo>
                    <a:pt x="189142" y="44050"/>
                  </a:moveTo>
                  <a:cubicBezTo>
                    <a:pt x="180835" y="44050"/>
                    <a:pt x="173806" y="37027"/>
                    <a:pt x="173806" y="28728"/>
                  </a:cubicBezTo>
                  <a:cubicBezTo>
                    <a:pt x="173806" y="20429"/>
                    <a:pt x="180835" y="13406"/>
                    <a:pt x="189142" y="13406"/>
                  </a:cubicBezTo>
                  <a:cubicBezTo>
                    <a:pt x="197449" y="13406"/>
                    <a:pt x="204478" y="20429"/>
                    <a:pt x="204478" y="28728"/>
                  </a:cubicBezTo>
                  <a:cubicBezTo>
                    <a:pt x="204478" y="37027"/>
                    <a:pt x="197449" y="44050"/>
                    <a:pt x="189142" y="4405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</p:grp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0DC0D76-96F1-9462-88D3-B55C4278D560}"/>
              </a:ext>
            </a:extLst>
          </p:cNvPr>
          <p:cNvCxnSpPr>
            <a:cxnSpLocks/>
          </p:cNvCxnSpPr>
          <p:nvPr/>
        </p:nvCxnSpPr>
        <p:spPr>
          <a:xfrm>
            <a:off x="7112372" y="3304330"/>
            <a:ext cx="4183200" cy="0"/>
          </a:xfrm>
          <a:prstGeom prst="line">
            <a:avLst/>
          </a:prstGeom>
          <a:ln w="9525"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aphic 4">
            <a:extLst>
              <a:ext uri="{FF2B5EF4-FFF2-40B4-BE49-F238E27FC236}">
                <a16:creationId xmlns:a16="http://schemas.microsoft.com/office/drawing/2014/main" id="{51B71BE2-F578-FE86-8A66-1992EA3669DC}"/>
              </a:ext>
            </a:extLst>
          </p:cNvPr>
          <p:cNvGrpSpPr/>
          <p:nvPr/>
        </p:nvGrpSpPr>
        <p:grpSpPr>
          <a:xfrm>
            <a:off x="7190607" y="4367961"/>
            <a:ext cx="468000" cy="468000"/>
            <a:chOff x="467743" y="1402723"/>
            <a:chExt cx="361670" cy="361971"/>
          </a:xfrm>
          <a:solidFill>
            <a:srgbClr val="012169"/>
          </a:solidFill>
        </p:grpSpPr>
        <p:sp>
          <p:nvSpPr>
            <p:cNvPr id="50" name="Graphic 4">
              <a:extLst>
                <a:ext uri="{FF2B5EF4-FFF2-40B4-BE49-F238E27FC236}">
                  <a16:creationId xmlns:a16="http://schemas.microsoft.com/office/drawing/2014/main" id="{732F14FC-8DFA-02C5-5BD1-BFE2966954AB}"/>
                </a:ext>
              </a:extLst>
            </p:cNvPr>
            <p:cNvSpPr/>
            <p:nvPr/>
          </p:nvSpPr>
          <p:spPr>
            <a:xfrm>
              <a:off x="467743" y="1402723"/>
              <a:ext cx="361670" cy="361971"/>
            </a:xfrm>
            <a:custGeom>
              <a:avLst/>
              <a:gdLst>
                <a:gd name="connsiteX0" fmla="*/ 180835 w 361670"/>
                <a:gd name="connsiteY0" fmla="*/ 0 h 361971"/>
                <a:gd name="connsiteX1" fmla="*/ 0 w 361670"/>
                <a:gd name="connsiteY1" fmla="*/ 181305 h 361971"/>
                <a:gd name="connsiteX2" fmla="*/ 180835 w 361670"/>
                <a:gd name="connsiteY2" fmla="*/ 361972 h 361971"/>
                <a:gd name="connsiteX3" fmla="*/ 361670 w 361670"/>
                <a:gd name="connsiteY3" fmla="*/ 181305 h 361971"/>
                <a:gd name="connsiteX4" fmla="*/ 361670 w 361670"/>
                <a:gd name="connsiteY4" fmla="*/ 181305 h 361971"/>
                <a:gd name="connsiteX5" fmla="*/ 180835 w 361670"/>
                <a:gd name="connsiteY5" fmla="*/ 0 h 361971"/>
                <a:gd name="connsiteX6" fmla="*/ 180835 w 361670"/>
                <a:gd name="connsiteY6" fmla="*/ 0 h 361971"/>
                <a:gd name="connsiteX7" fmla="*/ 180835 w 361670"/>
                <a:gd name="connsiteY7" fmla="*/ 348565 h 361971"/>
                <a:gd name="connsiteX8" fmla="*/ 12780 w 361670"/>
                <a:gd name="connsiteY8" fmla="*/ 180028 h 361971"/>
                <a:gd name="connsiteX9" fmla="*/ 180835 w 361670"/>
                <a:gd name="connsiteY9" fmla="*/ 12130 h 361971"/>
                <a:gd name="connsiteX10" fmla="*/ 348891 w 361670"/>
                <a:gd name="connsiteY10" fmla="*/ 180028 h 361971"/>
                <a:gd name="connsiteX11" fmla="*/ 180835 w 361670"/>
                <a:gd name="connsiteY11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1670" h="361971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0835" y="361972"/>
                  </a:cubicBezTo>
                  <a:cubicBezTo>
                    <a:pt x="280518" y="361972"/>
                    <a:pt x="361670" y="280895"/>
                    <a:pt x="361670" y="181305"/>
                  </a:cubicBezTo>
                  <a:cubicBezTo>
                    <a:pt x="361670" y="181305"/>
                    <a:pt x="361670" y="181305"/>
                    <a:pt x="361670" y="181305"/>
                  </a:cubicBezTo>
                  <a:cubicBezTo>
                    <a:pt x="361670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180835" y="348565"/>
                  </a:moveTo>
                  <a:cubicBezTo>
                    <a:pt x="87542" y="348565"/>
                    <a:pt x="12780" y="273234"/>
                    <a:pt x="12780" y="180028"/>
                  </a:cubicBezTo>
                  <a:cubicBezTo>
                    <a:pt x="12780" y="86822"/>
                    <a:pt x="87542" y="12130"/>
                    <a:pt x="180835" y="12130"/>
                  </a:cubicBezTo>
                  <a:cubicBezTo>
                    <a:pt x="274128" y="12130"/>
                    <a:pt x="348891" y="87461"/>
                    <a:pt x="348891" y="180028"/>
                  </a:cubicBezTo>
                  <a:cubicBezTo>
                    <a:pt x="348891" y="273234"/>
                    <a:pt x="273489" y="348565"/>
                    <a:pt x="180835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51" name="Graphic 4">
              <a:extLst>
                <a:ext uri="{FF2B5EF4-FFF2-40B4-BE49-F238E27FC236}">
                  <a16:creationId xmlns:a16="http://schemas.microsoft.com/office/drawing/2014/main" id="{86ABFD50-73AB-889B-8A35-81D744CDDD2C}"/>
                </a:ext>
              </a:extLst>
            </p:cNvPr>
            <p:cNvSpPr/>
            <p:nvPr/>
          </p:nvSpPr>
          <p:spPr>
            <a:xfrm>
              <a:off x="541227" y="1497366"/>
              <a:ext cx="214868" cy="171569"/>
            </a:xfrm>
            <a:custGeom>
              <a:avLst/>
              <a:gdLst>
                <a:gd name="connsiteX0" fmla="*/ 210868 w 214868"/>
                <a:gd name="connsiteY0" fmla="*/ 22184 h 171569"/>
                <a:gd name="connsiteX1" fmla="*/ 160387 w 214868"/>
                <a:gd name="connsiteY1" fmla="*/ 479 h 171569"/>
                <a:gd name="connsiteX2" fmla="*/ 155275 w 214868"/>
                <a:gd name="connsiteY2" fmla="*/ 479 h 171569"/>
                <a:gd name="connsiteX3" fmla="*/ 107351 w 214868"/>
                <a:gd name="connsiteY3" fmla="*/ 20908 h 171569"/>
                <a:gd name="connsiteX4" fmla="*/ 59426 w 214868"/>
                <a:gd name="connsiteY4" fmla="*/ 479 h 171569"/>
                <a:gd name="connsiteX5" fmla="*/ 54314 w 214868"/>
                <a:gd name="connsiteY5" fmla="*/ 479 h 171569"/>
                <a:gd name="connsiteX6" fmla="*/ 3834 w 214868"/>
                <a:gd name="connsiteY6" fmla="*/ 22184 h 171569"/>
                <a:gd name="connsiteX7" fmla="*/ 0 w 214868"/>
                <a:gd name="connsiteY7" fmla="*/ 27930 h 171569"/>
                <a:gd name="connsiteX8" fmla="*/ 0 w 214868"/>
                <a:gd name="connsiteY8" fmla="*/ 165186 h 171569"/>
                <a:gd name="connsiteX9" fmla="*/ 2556 w 214868"/>
                <a:gd name="connsiteY9" fmla="*/ 170293 h 171569"/>
                <a:gd name="connsiteX10" fmla="*/ 8946 w 214868"/>
                <a:gd name="connsiteY10" fmla="*/ 170931 h 171569"/>
                <a:gd name="connsiteX11" fmla="*/ 56870 w 214868"/>
                <a:gd name="connsiteY11" fmla="*/ 150502 h 171569"/>
                <a:gd name="connsiteX12" fmla="*/ 104795 w 214868"/>
                <a:gd name="connsiteY12" fmla="*/ 170931 h 171569"/>
                <a:gd name="connsiteX13" fmla="*/ 109907 w 214868"/>
                <a:gd name="connsiteY13" fmla="*/ 170931 h 171569"/>
                <a:gd name="connsiteX14" fmla="*/ 157831 w 214868"/>
                <a:gd name="connsiteY14" fmla="*/ 150502 h 171569"/>
                <a:gd name="connsiteX15" fmla="*/ 205756 w 214868"/>
                <a:gd name="connsiteY15" fmla="*/ 170931 h 171569"/>
                <a:gd name="connsiteX16" fmla="*/ 208312 w 214868"/>
                <a:gd name="connsiteY16" fmla="*/ 171569 h 171569"/>
                <a:gd name="connsiteX17" fmla="*/ 212146 w 214868"/>
                <a:gd name="connsiteY17" fmla="*/ 170293 h 171569"/>
                <a:gd name="connsiteX18" fmla="*/ 214702 w 214868"/>
                <a:gd name="connsiteY18" fmla="*/ 165186 h 171569"/>
                <a:gd name="connsiteX19" fmla="*/ 214702 w 214868"/>
                <a:gd name="connsiteY19" fmla="*/ 27930 h 171569"/>
                <a:gd name="connsiteX20" fmla="*/ 210868 w 214868"/>
                <a:gd name="connsiteY20" fmla="*/ 22184 h 171569"/>
                <a:gd name="connsiteX21" fmla="*/ 63260 w 214868"/>
                <a:gd name="connsiteY21" fmla="*/ 15800 h 171569"/>
                <a:gd name="connsiteX22" fmla="*/ 100961 w 214868"/>
                <a:gd name="connsiteY22" fmla="*/ 31760 h 171569"/>
                <a:gd name="connsiteX23" fmla="*/ 100961 w 214868"/>
                <a:gd name="connsiteY23" fmla="*/ 154971 h 171569"/>
                <a:gd name="connsiteX24" fmla="*/ 63260 w 214868"/>
                <a:gd name="connsiteY24" fmla="*/ 139011 h 171569"/>
                <a:gd name="connsiteX25" fmla="*/ 63260 w 214868"/>
                <a:gd name="connsiteY25" fmla="*/ 15800 h 171569"/>
                <a:gd name="connsiteX26" fmla="*/ 113741 w 214868"/>
                <a:gd name="connsiteY26" fmla="*/ 32399 h 171569"/>
                <a:gd name="connsiteX27" fmla="*/ 151442 w 214868"/>
                <a:gd name="connsiteY27" fmla="*/ 16439 h 171569"/>
                <a:gd name="connsiteX28" fmla="*/ 151442 w 214868"/>
                <a:gd name="connsiteY28" fmla="*/ 139650 h 171569"/>
                <a:gd name="connsiteX29" fmla="*/ 113741 w 214868"/>
                <a:gd name="connsiteY29" fmla="*/ 155610 h 171569"/>
                <a:gd name="connsiteX30" fmla="*/ 113741 w 214868"/>
                <a:gd name="connsiteY30" fmla="*/ 32399 h 171569"/>
                <a:gd name="connsiteX31" fmla="*/ 12141 w 214868"/>
                <a:gd name="connsiteY31" fmla="*/ 32399 h 171569"/>
                <a:gd name="connsiteX32" fmla="*/ 49842 w 214868"/>
                <a:gd name="connsiteY32" fmla="*/ 16439 h 171569"/>
                <a:gd name="connsiteX33" fmla="*/ 49842 w 214868"/>
                <a:gd name="connsiteY33" fmla="*/ 139650 h 171569"/>
                <a:gd name="connsiteX34" fmla="*/ 12141 w 214868"/>
                <a:gd name="connsiteY34" fmla="*/ 155610 h 171569"/>
                <a:gd name="connsiteX35" fmla="*/ 12141 w 214868"/>
                <a:gd name="connsiteY35" fmla="*/ 32399 h 171569"/>
                <a:gd name="connsiteX36" fmla="*/ 201922 w 214868"/>
                <a:gd name="connsiteY36" fmla="*/ 155610 h 171569"/>
                <a:gd name="connsiteX37" fmla="*/ 164221 w 214868"/>
                <a:gd name="connsiteY37" fmla="*/ 139650 h 171569"/>
                <a:gd name="connsiteX38" fmla="*/ 164221 w 214868"/>
                <a:gd name="connsiteY38" fmla="*/ 16439 h 171569"/>
                <a:gd name="connsiteX39" fmla="*/ 201922 w 214868"/>
                <a:gd name="connsiteY39" fmla="*/ 32399 h 171569"/>
                <a:gd name="connsiteX40" fmla="*/ 201922 w 214868"/>
                <a:gd name="connsiteY40" fmla="*/ 155610 h 17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14868" h="171569">
                  <a:moveTo>
                    <a:pt x="210868" y="22184"/>
                  </a:moveTo>
                  <a:lnTo>
                    <a:pt x="160387" y="479"/>
                  </a:lnTo>
                  <a:cubicBezTo>
                    <a:pt x="158470" y="-160"/>
                    <a:pt x="157192" y="-160"/>
                    <a:pt x="155275" y="479"/>
                  </a:cubicBezTo>
                  <a:lnTo>
                    <a:pt x="107351" y="20908"/>
                  </a:lnTo>
                  <a:lnTo>
                    <a:pt x="59426" y="479"/>
                  </a:lnTo>
                  <a:cubicBezTo>
                    <a:pt x="57509" y="-160"/>
                    <a:pt x="56231" y="-160"/>
                    <a:pt x="54314" y="479"/>
                  </a:cubicBezTo>
                  <a:lnTo>
                    <a:pt x="3834" y="22184"/>
                  </a:lnTo>
                  <a:cubicBezTo>
                    <a:pt x="1278" y="23461"/>
                    <a:pt x="0" y="25376"/>
                    <a:pt x="0" y="27930"/>
                  </a:cubicBezTo>
                  <a:lnTo>
                    <a:pt x="0" y="165186"/>
                  </a:lnTo>
                  <a:cubicBezTo>
                    <a:pt x="0" y="167101"/>
                    <a:pt x="1278" y="169654"/>
                    <a:pt x="2556" y="170293"/>
                  </a:cubicBezTo>
                  <a:cubicBezTo>
                    <a:pt x="4473" y="171569"/>
                    <a:pt x="7029" y="171569"/>
                    <a:pt x="8946" y="170931"/>
                  </a:cubicBezTo>
                  <a:lnTo>
                    <a:pt x="56870" y="150502"/>
                  </a:lnTo>
                  <a:lnTo>
                    <a:pt x="104795" y="170931"/>
                  </a:lnTo>
                  <a:cubicBezTo>
                    <a:pt x="106712" y="171569"/>
                    <a:pt x="107990" y="171569"/>
                    <a:pt x="109907" y="170931"/>
                  </a:cubicBezTo>
                  <a:lnTo>
                    <a:pt x="157831" y="150502"/>
                  </a:lnTo>
                  <a:lnTo>
                    <a:pt x="205756" y="170931"/>
                  </a:lnTo>
                  <a:cubicBezTo>
                    <a:pt x="206395" y="171569"/>
                    <a:pt x="207673" y="171569"/>
                    <a:pt x="208312" y="171569"/>
                  </a:cubicBezTo>
                  <a:cubicBezTo>
                    <a:pt x="209590" y="171569"/>
                    <a:pt x="210868" y="170931"/>
                    <a:pt x="212146" y="170293"/>
                  </a:cubicBezTo>
                  <a:cubicBezTo>
                    <a:pt x="214063" y="169016"/>
                    <a:pt x="215341" y="167101"/>
                    <a:pt x="214702" y="165186"/>
                  </a:cubicBezTo>
                  <a:lnTo>
                    <a:pt x="214702" y="27930"/>
                  </a:lnTo>
                  <a:cubicBezTo>
                    <a:pt x="215341" y="25376"/>
                    <a:pt x="213424" y="22823"/>
                    <a:pt x="210868" y="22184"/>
                  </a:cubicBezTo>
                  <a:close/>
                  <a:moveTo>
                    <a:pt x="63260" y="15800"/>
                  </a:moveTo>
                  <a:lnTo>
                    <a:pt x="100961" y="31760"/>
                  </a:lnTo>
                  <a:lnTo>
                    <a:pt x="100961" y="154971"/>
                  </a:lnTo>
                  <a:lnTo>
                    <a:pt x="63260" y="139011"/>
                  </a:lnTo>
                  <a:lnTo>
                    <a:pt x="63260" y="15800"/>
                  </a:lnTo>
                  <a:close/>
                  <a:moveTo>
                    <a:pt x="113741" y="32399"/>
                  </a:moveTo>
                  <a:lnTo>
                    <a:pt x="151442" y="16439"/>
                  </a:lnTo>
                  <a:lnTo>
                    <a:pt x="151442" y="139650"/>
                  </a:lnTo>
                  <a:lnTo>
                    <a:pt x="113741" y="155610"/>
                  </a:lnTo>
                  <a:lnTo>
                    <a:pt x="113741" y="32399"/>
                  </a:lnTo>
                  <a:close/>
                  <a:moveTo>
                    <a:pt x="12141" y="32399"/>
                  </a:moveTo>
                  <a:lnTo>
                    <a:pt x="49842" y="16439"/>
                  </a:lnTo>
                  <a:lnTo>
                    <a:pt x="49842" y="139650"/>
                  </a:lnTo>
                  <a:lnTo>
                    <a:pt x="12141" y="155610"/>
                  </a:lnTo>
                  <a:lnTo>
                    <a:pt x="12141" y="32399"/>
                  </a:lnTo>
                  <a:close/>
                  <a:moveTo>
                    <a:pt x="201922" y="155610"/>
                  </a:moveTo>
                  <a:lnTo>
                    <a:pt x="164221" y="139650"/>
                  </a:lnTo>
                  <a:lnTo>
                    <a:pt x="164221" y="16439"/>
                  </a:lnTo>
                  <a:lnTo>
                    <a:pt x="201922" y="32399"/>
                  </a:lnTo>
                  <a:lnTo>
                    <a:pt x="201922" y="15561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85C3C11-7A85-B146-AED3-BAFA7CCEB763}"/>
              </a:ext>
            </a:extLst>
          </p:cNvPr>
          <p:cNvCxnSpPr>
            <a:cxnSpLocks/>
          </p:cNvCxnSpPr>
          <p:nvPr/>
        </p:nvCxnSpPr>
        <p:spPr>
          <a:xfrm>
            <a:off x="8906687" y="1066058"/>
            <a:ext cx="3276000" cy="0"/>
          </a:xfrm>
          <a:prstGeom prst="line">
            <a:avLst/>
          </a:prstGeom>
          <a:noFill/>
          <a:ln w="12700" cap="flat" cmpd="sng" algn="ctr">
            <a:solidFill>
              <a:srgbClr val="FDC124"/>
            </a:solidFill>
            <a:prstDash val="solid"/>
          </a:ln>
          <a:effectLst/>
        </p:spPr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B29F4EBB-14C0-7BE1-6B62-F54CEC368AFF}"/>
              </a:ext>
            </a:extLst>
          </p:cNvPr>
          <p:cNvSpPr/>
          <p:nvPr/>
        </p:nvSpPr>
        <p:spPr bwMode="gray">
          <a:xfrm>
            <a:off x="8823382" y="904058"/>
            <a:ext cx="324000" cy="324000"/>
          </a:xfrm>
          <a:prstGeom prst="ellipse">
            <a:avLst/>
          </a:prstGeom>
          <a:solidFill>
            <a:srgbClr val="DEA726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</a:rPr>
              <a:t>0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0C99401-E31B-22D1-79E3-9C271911AC83}"/>
              </a:ext>
            </a:extLst>
          </p:cNvPr>
          <p:cNvSpPr/>
          <p:nvPr/>
        </p:nvSpPr>
        <p:spPr bwMode="gray">
          <a:xfrm>
            <a:off x="9370600" y="904058"/>
            <a:ext cx="324000" cy="32400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2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7872B93-A07E-15AD-FA31-F058D91B5522}"/>
              </a:ext>
            </a:extLst>
          </p:cNvPr>
          <p:cNvSpPr/>
          <p:nvPr/>
        </p:nvSpPr>
        <p:spPr bwMode="gray">
          <a:xfrm>
            <a:off x="10465036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4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25F8FE3-D693-119B-369A-6FE7AC5B38AC}"/>
              </a:ext>
            </a:extLst>
          </p:cNvPr>
          <p:cNvSpPr/>
          <p:nvPr/>
        </p:nvSpPr>
        <p:spPr bwMode="gray">
          <a:xfrm>
            <a:off x="9917818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ca-ES" sz="700" kern="0" dirty="0">
                <a:solidFill>
                  <a:srgbClr val="DEA726"/>
                </a:solidFill>
                <a:latin typeface="Aptos" panose="020B0004020202020204" pitchFamily="34" charset="0"/>
              </a:rPr>
              <a:t>03</a:t>
            </a:r>
            <a:endParaRPr kumimoji="0" lang="ca-ES" sz="700" b="0" i="0" u="none" strike="noStrike" kern="0" cap="none" spc="0" normalizeH="0" baseline="0" noProof="0" dirty="0">
              <a:ln>
                <a:noFill/>
              </a:ln>
              <a:solidFill>
                <a:srgbClr val="DEA726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D88E080-0F76-DDE3-C307-0582CE5D18D6}"/>
              </a:ext>
            </a:extLst>
          </p:cNvPr>
          <p:cNvSpPr/>
          <p:nvPr/>
        </p:nvSpPr>
        <p:spPr bwMode="gray">
          <a:xfrm>
            <a:off x="11012254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5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F6683A2C-12F1-AE23-0680-4601DEA50E42}"/>
              </a:ext>
            </a:extLst>
          </p:cNvPr>
          <p:cNvSpPr/>
          <p:nvPr/>
        </p:nvSpPr>
        <p:spPr bwMode="gray">
          <a:xfrm>
            <a:off x="11559471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6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113987A0-ABD1-D0D4-7E1A-1F02A3D60664}"/>
              </a:ext>
            </a:extLst>
          </p:cNvPr>
          <p:cNvSpPr txBox="1">
            <a:spLocks/>
          </p:cNvSpPr>
          <p:nvPr/>
        </p:nvSpPr>
        <p:spPr>
          <a:xfrm>
            <a:off x="484481" y="834325"/>
            <a:ext cx="50338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rgbClr val="DFA726"/>
                </a:solidFill>
                <a:latin typeface="Trebuchet MS"/>
                <a:cs typeface="Trebuchet MS"/>
              </a:defRPr>
            </a:lvl1pPr>
            <a:lvl2pPr marL="179388" indent="-179388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2pPr>
            <a:lvl3pPr marL="360363" indent="-180975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900" b="0" kern="120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3pPr>
            <a:lvl4pPr marL="538163" indent="-1778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900" b="0" kern="1200" baseline="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4pPr>
            <a:lvl5pPr marL="717550" indent="-179388" algn="l" defTabSz="5988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900" b="0" kern="1200" baseline="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a-ES" b="1" dirty="0"/>
              <a:t>FASES DEL PROCESO </a:t>
            </a:r>
            <a:r>
              <a:rPr lang="ca-ES" dirty="0"/>
              <a:t>| </a:t>
            </a:r>
            <a:r>
              <a:rPr lang="ca-ES" dirty="0">
                <a:solidFill>
                  <a:srgbClr val="012169"/>
                </a:solidFill>
              </a:rPr>
              <a:t>Aceptación legal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4EBC8E1-994F-5B51-2DEA-2FB5353C8902}"/>
              </a:ext>
            </a:extLst>
          </p:cNvPr>
          <p:cNvSpPr txBox="1"/>
          <p:nvPr/>
        </p:nvSpPr>
        <p:spPr>
          <a:xfrm>
            <a:off x="500045" y="1299575"/>
            <a:ext cx="7200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>
              <a:buNone/>
            </a:pPr>
            <a:r>
              <a:rPr lang="es-ES" sz="1400" dirty="0">
                <a:solidFill>
                  <a:schemeClr val="tx1">
                    <a:lumMod val="50000"/>
                  </a:schemeClr>
                </a:solidFill>
              </a:rPr>
              <a:t>Inicio del flujo guiado de identificación para el proceso de generación de PIN Salud mediante video identificación.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7E13179-A730-110A-A3F3-C0B0CC8F3630}"/>
              </a:ext>
            </a:extLst>
          </p:cNvPr>
          <p:cNvSpPr txBox="1"/>
          <p:nvPr/>
        </p:nvSpPr>
        <p:spPr>
          <a:xfrm>
            <a:off x="1282365" y="2083098"/>
            <a:ext cx="56103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>
              <a:buNone/>
            </a:pPr>
            <a:r>
              <a:rPr lang="es-ES" sz="1200" b="1" dirty="0">
                <a:solidFill>
                  <a:srgbClr val="012169"/>
                </a:solidFill>
              </a:rPr>
              <a:t>INFORMACIÓN AL USUARIO SOBRE EL SERVICIO: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C1E6556-9FEE-F178-8F7C-B23EE1F6CEA8}"/>
              </a:ext>
            </a:extLst>
          </p:cNvPr>
          <p:cNvSpPr txBox="1"/>
          <p:nvPr/>
        </p:nvSpPr>
        <p:spPr>
          <a:xfrm>
            <a:off x="1282365" y="2516859"/>
            <a:ext cx="561030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Proceso seguro, gratuito y 100% remoto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Requisitos técnicos (cámara, conexión, dispositivo)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FB306A3A-6628-DBAD-0DD6-C16C9A5E81F5}"/>
              </a:ext>
            </a:extLst>
          </p:cNvPr>
          <p:cNvCxnSpPr>
            <a:cxnSpLocks/>
          </p:cNvCxnSpPr>
          <p:nvPr/>
        </p:nvCxnSpPr>
        <p:spPr>
          <a:xfrm>
            <a:off x="1282365" y="2445985"/>
            <a:ext cx="3950035" cy="0"/>
          </a:xfrm>
          <a:prstGeom prst="line">
            <a:avLst/>
          </a:prstGeom>
          <a:ln>
            <a:solidFill>
              <a:srgbClr val="FDC1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raphic 4">
            <a:extLst>
              <a:ext uri="{FF2B5EF4-FFF2-40B4-BE49-F238E27FC236}">
                <a16:creationId xmlns:a16="http://schemas.microsoft.com/office/drawing/2014/main" id="{EA6D2F1B-29E8-E094-55BF-8E13E98D55BF}"/>
              </a:ext>
            </a:extLst>
          </p:cNvPr>
          <p:cNvSpPr>
            <a:spLocks noChangeAspect="1"/>
          </p:cNvSpPr>
          <p:nvPr/>
        </p:nvSpPr>
        <p:spPr>
          <a:xfrm>
            <a:off x="606267" y="2048409"/>
            <a:ext cx="504000" cy="503525"/>
          </a:xfrm>
          <a:custGeom>
            <a:avLst/>
            <a:gdLst>
              <a:gd name="connsiteX0" fmla="*/ 181474 w 362312"/>
              <a:gd name="connsiteY0" fmla="*/ 0 h 361971"/>
              <a:gd name="connsiteX1" fmla="*/ 0 w 362312"/>
              <a:gd name="connsiteY1" fmla="*/ 180667 h 361971"/>
              <a:gd name="connsiteX2" fmla="*/ 180836 w 362312"/>
              <a:gd name="connsiteY2" fmla="*/ 361972 h 361971"/>
              <a:gd name="connsiteX3" fmla="*/ 362309 w 362312"/>
              <a:gd name="connsiteY3" fmla="*/ 181305 h 361971"/>
              <a:gd name="connsiteX4" fmla="*/ 362309 w 362312"/>
              <a:gd name="connsiteY4" fmla="*/ 181305 h 361971"/>
              <a:gd name="connsiteX5" fmla="*/ 181474 w 362312"/>
              <a:gd name="connsiteY5" fmla="*/ 0 h 361971"/>
              <a:gd name="connsiteX6" fmla="*/ 160387 w 362312"/>
              <a:gd name="connsiteY6" fmla="*/ 264297 h 361971"/>
              <a:gd name="connsiteX7" fmla="*/ 155276 w 362312"/>
              <a:gd name="connsiteY7" fmla="*/ 266212 h 361971"/>
              <a:gd name="connsiteX8" fmla="*/ 150802 w 362312"/>
              <a:gd name="connsiteY8" fmla="*/ 264935 h 361971"/>
              <a:gd name="connsiteX9" fmla="*/ 132271 w 362312"/>
              <a:gd name="connsiteY9" fmla="*/ 259828 h 361971"/>
              <a:gd name="connsiteX10" fmla="*/ 119492 w 362312"/>
              <a:gd name="connsiteY10" fmla="*/ 256636 h 361971"/>
              <a:gd name="connsiteX11" fmla="*/ 107351 w 362312"/>
              <a:gd name="connsiteY11" fmla="*/ 240038 h 361971"/>
              <a:gd name="connsiteX12" fmla="*/ 107990 w 362312"/>
              <a:gd name="connsiteY12" fmla="*/ 221524 h 361971"/>
              <a:gd name="connsiteX13" fmla="*/ 119492 w 362312"/>
              <a:gd name="connsiteY13" fmla="*/ 194711 h 361971"/>
              <a:gd name="connsiteX14" fmla="*/ 116297 w 362312"/>
              <a:gd name="connsiteY14" fmla="*/ 160876 h 361971"/>
              <a:gd name="connsiteX15" fmla="*/ 96488 w 362312"/>
              <a:gd name="connsiteY15" fmla="*/ 151939 h 361971"/>
              <a:gd name="connsiteX16" fmla="*/ 96488 w 362312"/>
              <a:gd name="connsiteY16" fmla="*/ 151939 h 361971"/>
              <a:gd name="connsiteX17" fmla="*/ 76679 w 362312"/>
              <a:gd name="connsiteY17" fmla="*/ 160876 h 361971"/>
              <a:gd name="connsiteX18" fmla="*/ 73484 w 362312"/>
              <a:gd name="connsiteY18" fmla="*/ 194073 h 361971"/>
              <a:gd name="connsiteX19" fmla="*/ 84986 w 362312"/>
              <a:gd name="connsiteY19" fmla="*/ 220886 h 361971"/>
              <a:gd name="connsiteX20" fmla="*/ 85625 w 362312"/>
              <a:gd name="connsiteY20" fmla="*/ 239399 h 361971"/>
              <a:gd name="connsiteX21" fmla="*/ 74123 w 362312"/>
              <a:gd name="connsiteY21" fmla="*/ 255359 h 361971"/>
              <a:gd name="connsiteX22" fmla="*/ 71567 w 362312"/>
              <a:gd name="connsiteY22" fmla="*/ 255998 h 361971"/>
              <a:gd name="connsiteX23" fmla="*/ 65817 w 362312"/>
              <a:gd name="connsiteY23" fmla="*/ 252167 h 361971"/>
              <a:gd name="connsiteX24" fmla="*/ 69650 w 362312"/>
              <a:gd name="connsiteY24" fmla="*/ 243868 h 361971"/>
              <a:gd name="connsiteX25" fmla="*/ 74762 w 362312"/>
              <a:gd name="connsiteY25" fmla="*/ 227908 h 361971"/>
              <a:gd name="connsiteX26" fmla="*/ 61343 w 362312"/>
              <a:gd name="connsiteY26" fmla="*/ 196627 h 361971"/>
              <a:gd name="connsiteX27" fmla="*/ 67094 w 362312"/>
              <a:gd name="connsiteY27" fmla="*/ 151939 h 361971"/>
              <a:gd name="connsiteX28" fmla="*/ 97127 w 362312"/>
              <a:gd name="connsiteY28" fmla="*/ 138532 h 361971"/>
              <a:gd name="connsiteX29" fmla="*/ 97127 w 362312"/>
              <a:gd name="connsiteY29" fmla="*/ 138532 h 361971"/>
              <a:gd name="connsiteX30" fmla="*/ 126521 w 362312"/>
              <a:gd name="connsiteY30" fmla="*/ 151939 h 361971"/>
              <a:gd name="connsiteX31" fmla="*/ 132271 w 362312"/>
              <a:gd name="connsiteY31" fmla="*/ 196627 h 361971"/>
              <a:gd name="connsiteX32" fmla="*/ 118853 w 362312"/>
              <a:gd name="connsiteY32" fmla="*/ 227908 h 361971"/>
              <a:gd name="connsiteX33" fmla="*/ 123965 w 362312"/>
              <a:gd name="connsiteY33" fmla="*/ 243868 h 361971"/>
              <a:gd name="connsiteX34" fmla="*/ 134189 w 362312"/>
              <a:gd name="connsiteY34" fmla="*/ 245783 h 361971"/>
              <a:gd name="connsiteX35" fmla="*/ 159110 w 362312"/>
              <a:gd name="connsiteY35" fmla="*/ 253444 h 361971"/>
              <a:gd name="connsiteX36" fmla="*/ 160387 w 362312"/>
              <a:gd name="connsiteY36" fmla="*/ 264297 h 361971"/>
              <a:gd name="connsiteX37" fmla="*/ 160387 w 362312"/>
              <a:gd name="connsiteY37" fmla="*/ 264297 h 361971"/>
              <a:gd name="connsiteX38" fmla="*/ 160387 w 362312"/>
              <a:gd name="connsiteY38" fmla="*/ 264297 h 361971"/>
              <a:gd name="connsiteX39" fmla="*/ 304161 w 362312"/>
              <a:gd name="connsiteY39" fmla="*/ 217694 h 361971"/>
              <a:gd name="connsiteX40" fmla="*/ 297771 w 362312"/>
              <a:gd name="connsiteY40" fmla="*/ 224078 h 361971"/>
              <a:gd name="connsiteX41" fmla="*/ 155915 w 362312"/>
              <a:gd name="connsiteY41" fmla="*/ 224078 h 361971"/>
              <a:gd name="connsiteX42" fmla="*/ 149525 w 362312"/>
              <a:gd name="connsiteY42" fmla="*/ 217694 h 361971"/>
              <a:gd name="connsiteX43" fmla="*/ 155915 w 362312"/>
              <a:gd name="connsiteY43" fmla="*/ 211310 h 361971"/>
              <a:gd name="connsiteX44" fmla="*/ 291381 w 362312"/>
              <a:gd name="connsiteY44" fmla="*/ 211310 h 361971"/>
              <a:gd name="connsiteX45" fmla="*/ 291381 w 362312"/>
              <a:gd name="connsiteY45" fmla="*/ 107251 h 361971"/>
              <a:gd name="connsiteX46" fmla="*/ 111824 w 362312"/>
              <a:gd name="connsiteY46" fmla="*/ 107251 h 361971"/>
              <a:gd name="connsiteX47" fmla="*/ 111824 w 362312"/>
              <a:gd name="connsiteY47" fmla="*/ 117465 h 361971"/>
              <a:gd name="connsiteX48" fmla="*/ 105434 w 362312"/>
              <a:gd name="connsiteY48" fmla="*/ 123849 h 361971"/>
              <a:gd name="connsiteX49" fmla="*/ 99044 w 362312"/>
              <a:gd name="connsiteY49" fmla="*/ 117465 h 361971"/>
              <a:gd name="connsiteX50" fmla="*/ 99044 w 362312"/>
              <a:gd name="connsiteY50" fmla="*/ 100867 h 361971"/>
              <a:gd name="connsiteX51" fmla="*/ 105434 w 362312"/>
              <a:gd name="connsiteY51" fmla="*/ 94483 h 361971"/>
              <a:gd name="connsiteX52" fmla="*/ 297771 w 362312"/>
              <a:gd name="connsiteY52" fmla="*/ 94483 h 361971"/>
              <a:gd name="connsiteX53" fmla="*/ 304161 w 362312"/>
              <a:gd name="connsiteY53" fmla="*/ 100867 h 361971"/>
              <a:gd name="connsiteX54" fmla="*/ 304161 w 362312"/>
              <a:gd name="connsiteY54" fmla="*/ 217694 h 361971"/>
              <a:gd name="connsiteX55" fmla="*/ 164221 w 362312"/>
              <a:gd name="connsiteY55" fmla="*/ 169814 h 361971"/>
              <a:gd name="connsiteX56" fmla="*/ 264544 w 362312"/>
              <a:gd name="connsiteY56" fmla="*/ 169814 h 361971"/>
              <a:gd name="connsiteX57" fmla="*/ 270934 w 362312"/>
              <a:gd name="connsiteY57" fmla="*/ 176198 h 361971"/>
              <a:gd name="connsiteX58" fmla="*/ 264544 w 362312"/>
              <a:gd name="connsiteY58" fmla="*/ 182582 h 361971"/>
              <a:gd name="connsiteX59" fmla="*/ 164221 w 362312"/>
              <a:gd name="connsiteY59" fmla="*/ 182582 h 361971"/>
              <a:gd name="connsiteX60" fmla="*/ 157831 w 362312"/>
              <a:gd name="connsiteY60" fmla="*/ 176198 h 361971"/>
              <a:gd name="connsiteX61" fmla="*/ 164221 w 362312"/>
              <a:gd name="connsiteY61" fmla="*/ 169814 h 361971"/>
              <a:gd name="connsiteX62" fmla="*/ 157831 w 362312"/>
              <a:gd name="connsiteY62" fmla="*/ 143001 h 361971"/>
              <a:gd name="connsiteX63" fmla="*/ 164221 w 362312"/>
              <a:gd name="connsiteY63" fmla="*/ 136617 h 361971"/>
              <a:gd name="connsiteX64" fmla="*/ 264544 w 362312"/>
              <a:gd name="connsiteY64" fmla="*/ 136617 h 361971"/>
              <a:gd name="connsiteX65" fmla="*/ 270934 w 362312"/>
              <a:gd name="connsiteY65" fmla="*/ 143001 h 361971"/>
              <a:gd name="connsiteX66" fmla="*/ 264544 w 362312"/>
              <a:gd name="connsiteY66" fmla="*/ 149385 h 361971"/>
              <a:gd name="connsiteX67" fmla="*/ 164221 w 362312"/>
              <a:gd name="connsiteY67" fmla="*/ 149385 h 361971"/>
              <a:gd name="connsiteX68" fmla="*/ 157831 w 362312"/>
              <a:gd name="connsiteY68" fmla="*/ 143001 h 361971"/>
              <a:gd name="connsiteX69" fmla="*/ 157831 w 362312"/>
              <a:gd name="connsiteY69" fmla="*/ 143001 h 361971"/>
              <a:gd name="connsiteX70" fmla="*/ 157831 w 362312"/>
              <a:gd name="connsiteY70" fmla="*/ 143001 h 361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362312" h="361971">
                <a:moveTo>
                  <a:pt x="181474" y="0"/>
                </a:moveTo>
                <a:cubicBezTo>
                  <a:pt x="81152" y="0"/>
                  <a:pt x="0" y="81077"/>
                  <a:pt x="0" y="180667"/>
                </a:cubicBezTo>
                <a:cubicBezTo>
                  <a:pt x="0" y="280895"/>
                  <a:pt x="81152" y="361972"/>
                  <a:pt x="180836" y="361972"/>
                </a:cubicBezTo>
                <a:cubicBezTo>
                  <a:pt x="281157" y="361972"/>
                  <a:pt x="362309" y="280895"/>
                  <a:pt x="362309" y="181305"/>
                </a:cubicBezTo>
                <a:cubicBezTo>
                  <a:pt x="362309" y="181305"/>
                  <a:pt x="362309" y="181305"/>
                  <a:pt x="362309" y="181305"/>
                </a:cubicBezTo>
                <a:cubicBezTo>
                  <a:pt x="362949" y="80438"/>
                  <a:pt x="281796" y="0"/>
                  <a:pt x="181474" y="0"/>
                </a:cubicBezTo>
                <a:close/>
                <a:moveTo>
                  <a:pt x="160387" y="264297"/>
                </a:moveTo>
                <a:cubicBezTo>
                  <a:pt x="159110" y="265574"/>
                  <a:pt x="157192" y="266212"/>
                  <a:pt x="155276" y="266212"/>
                </a:cubicBezTo>
                <a:cubicBezTo>
                  <a:pt x="153997" y="266212"/>
                  <a:pt x="152081" y="265574"/>
                  <a:pt x="150802" y="264935"/>
                </a:cubicBezTo>
                <a:cubicBezTo>
                  <a:pt x="145051" y="262382"/>
                  <a:pt x="138661" y="260466"/>
                  <a:pt x="132271" y="259828"/>
                </a:cubicBezTo>
                <a:cubicBezTo>
                  <a:pt x="127799" y="259190"/>
                  <a:pt x="123965" y="258551"/>
                  <a:pt x="119492" y="256636"/>
                </a:cubicBezTo>
                <a:cubicBezTo>
                  <a:pt x="112463" y="254082"/>
                  <a:pt x="108629" y="244506"/>
                  <a:pt x="107351" y="240038"/>
                </a:cubicBezTo>
                <a:cubicBezTo>
                  <a:pt x="106073" y="235569"/>
                  <a:pt x="104156" y="226631"/>
                  <a:pt x="107990" y="221524"/>
                </a:cubicBezTo>
                <a:cubicBezTo>
                  <a:pt x="113102" y="213225"/>
                  <a:pt x="116936" y="204287"/>
                  <a:pt x="119492" y="194711"/>
                </a:cubicBezTo>
                <a:cubicBezTo>
                  <a:pt x="123326" y="179390"/>
                  <a:pt x="122048" y="168537"/>
                  <a:pt x="116297" y="160876"/>
                </a:cubicBezTo>
                <a:cubicBezTo>
                  <a:pt x="111185" y="155131"/>
                  <a:pt x="104156" y="151939"/>
                  <a:pt x="96488" y="151939"/>
                </a:cubicBezTo>
                <a:lnTo>
                  <a:pt x="96488" y="151939"/>
                </a:lnTo>
                <a:cubicBezTo>
                  <a:pt x="88820" y="151939"/>
                  <a:pt x="81792" y="155131"/>
                  <a:pt x="76679" y="160876"/>
                </a:cubicBezTo>
                <a:cubicBezTo>
                  <a:pt x="70928" y="167899"/>
                  <a:pt x="70289" y="179390"/>
                  <a:pt x="73484" y="194073"/>
                </a:cubicBezTo>
                <a:cubicBezTo>
                  <a:pt x="76040" y="203649"/>
                  <a:pt x="79874" y="212587"/>
                  <a:pt x="84986" y="220886"/>
                </a:cubicBezTo>
                <a:cubicBezTo>
                  <a:pt x="88820" y="225993"/>
                  <a:pt x="86903" y="235569"/>
                  <a:pt x="85625" y="239399"/>
                </a:cubicBezTo>
                <a:cubicBezTo>
                  <a:pt x="84347" y="246422"/>
                  <a:pt x="79874" y="252167"/>
                  <a:pt x="74123" y="255359"/>
                </a:cubicBezTo>
                <a:cubicBezTo>
                  <a:pt x="73484" y="255359"/>
                  <a:pt x="72845" y="255998"/>
                  <a:pt x="71567" y="255998"/>
                </a:cubicBezTo>
                <a:cubicBezTo>
                  <a:pt x="69012" y="255998"/>
                  <a:pt x="66456" y="254082"/>
                  <a:pt x="65817" y="252167"/>
                </a:cubicBezTo>
                <a:cubicBezTo>
                  <a:pt x="64538" y="248975"/>
                  <a:pt x="66456" y="245145"/>
                  <a:pt x="69650" y="243868"/>
                </a:cubicBezTo>
                <a:cubicBezTo>
                  <a:pt x="73484" y="239399"/>
                  <a:pt x="74762" y="233654"/>
                  <a:pt x="74762" y="227908"/>
                </a:cubicBezTo>
                <a:cubicBezTo>
                  <a:pt x="68372" y="218332"/>
                  <a:pt x="63899" y="208118"/>
                  <a:pt x="61343" y="196627"/>
                </a:cubicBezTo>
                <a:cubicBezTo>
                  <a:pt x="56871" y="177475"/>
                  <a:pt x="58787" y="162153"/>
                  <a:pt x="67094" y="151939"/>
                </a:cubicBezTo>
                <a:cubicBezTo>
                  <a:pt x="74762" y="143640"/>
                  <a:pt x="85625" y="138532"/>
                  <a:pt x="97127" y="138532"/>
                </a:cubicBezTo>
                <a:lnTo>
                  <a:pt x="97127" y="138532"/>
                </a:lnTo>
                <a:cubicBezTo>
                  <a:pt x="108629" y="138532"/>
                  <a:pt x="118853" y="143640"/>
                  <a:pt x="126521" y="151939"/>
                </a:cubicBezTo>
                <a:cubicBezTo>
                  <a:pt x="134828" y="162153"/>
                  <a:pt x="136745" y="177475"/>
                  <a:pt x="132271" y="196627"/>
                </a:cubicBezTo>
                <a:cubicBezTo>
                  <a:pt x="129716" y="207479"/>
                  <a:pt x="125243" y="218332"/>
                  <a:pt x="118853" y="227908"/>
                </a:cubicBezTo>
                <a:cubicBezTo>
                  <a:pt x="118853" y="233654"/>
                  <a:pt x="120770" y="239399"/>
                  <a:pt x="123965" y="243868"/>
                </a:cubicBezTo>
                <a:cubicBezTo>
                  <a:pt x="127160" y="245145"/>
                  <a:pt x="130994" y="245783"/>
                  <a:pt x="134189" y="245783"/>
                </a:cubicBezTo>
                <a:cubicBezTo>
                  <a:pt x="143774" y="247698"/>
                  <a:pt x="153997" y="248975"/>
                  <a:pt x="159110" y="253444"/>
                </a:cubicBezTo>
                <a:cubicBezTo>
                  <a:pt x="162305" y="257913"/>
                  <a:pt x="162943" y="261743"/>
                  <a:pt x="160387" y="264297"/>
                </a:cubicBezTo>
                <a:cubicBezTo>
                  <a:pt x="160387" y="264297"/>
                  <a:pt x="160387" y="264297"/>
                  <a:pt x="160387" y="264297"/>
                </a:cubicBezTo>
                <a:lnTo>
                  <a:pt x="160387" y="264297"/>
                </a:lnTo>
                <a:close/>
                <a:moveTo>
                  <a:pt x="304161" y="217694"/>
                </a:moveTo>
                <a:cubicBezTo>
                  <a:pt x="304161" y="221524"/>
                  <a:pt x="301605" y="224078"/>
                  <a:pt x="297771" y="224078"/>
                </a:cubicBezTo>
                <a:lnTo>
                  <a:pt x="155915" y="224078"/>
                </a:lnTo>
                <a:cubicBezTo>
                  <a:pt x="152081" y="224078"/>
                  <a:pt x="149525" y="221524"/>
                  <a:pt x="149525" y="217694"/>
                </a:cubicBezTo>
                <a:cubicBezTo>
                  <a:pt x="149525" y="213863"/>
                  <a:pt x="152081" y="211310"/>
                  <a:pt x="155915" y="211310"/>
                </a:cubicBezTo>
                <a:lnTo>
                  <a:pt x="291381" y="211310"/>
                </a:lnTo>
                <a:lnTo>
                  <a:pt x="291381" y="107251"/>
                </a:lnTo>
                <a:lnTo>
                  <a:pt x="111824" y="107251"/>
                </a:lnTo>
                <a:lnTo>
                  <a:pt x="111824" y="117465"/>
                </a:lnTo>
                <a:cubicBezTo>
                  <a:pt x="111824" y="121296"/>
                  <a:pt x="109268" y="123849"/>
                  <a:pt x="105434" y="123849"/>
                </a:cubicBezTo>
                <a:cubicBezTo>
                  <a:pt x="101600" y="123849"/>
                  <a:pt x="99044" y="121296"/>
                  <a:pt x="99044" y="117465"/>
                </a:cubicBezTo>
                <a:lnTo>
                  <a:pt x="99044" y="100867"/>
                </a:lnTo>
                <a:cubicBezTo>
                  <a:pt x="99044" y="97037"/>
                  <a:pt x="101600" y="94483"/>
                  <a:pt x="105434" y="94483"/>
                </a:cubicBezTo>
                <a:lnTo>
                  <a:pt x="297771" y="94483"/>
                </a:lnTo>
                <a:cubicBezTo>
                  <a:pt x="301605" y="94483"/>
                  <a:pt x="304161" y="97037"/>
                  <a:pt x="304161" y="100867"/>
                </a:cubicBezTo>
                <a:lnTo>
                  <a:pt x="304161" y="217694"/>
                </a:lnTo>
                <a:close/>
                <a:moveTo>
                  <a:pt x="164221" y="169814"/>
                </a:moveTo>
                <a:lnTo>
                  <a:pt x="264544" y="169814"/>
                </a:lnTo>
                <a:cubicBezTo>
                  <a:pt x="268377" y="169814"/>
                  <a:pt x="270934" y="172368"/>
                  <a:pt x="270934" y="176198"/>
                </a:cubicBezTo>
                <a:cubicBezTo>
                  <a:pt x="270934" y="180028"/>
                  <a:pt x="268377" y="182582"/>
                  <a:pt x="264544" y="182582"/>
                </a:cubicBezTo>
                <a:lnTo>
                  <a:pt x="164221" y="182582"/>
                </a:lnTo>
                <a:cubicBezTo>
                  <a:pt x="160387" y="182582"/>
                  <a:pt x="157831" y="180028"/>
                  <a:pt x="157831" y="176198"/>
                </a:cubicBezTo>
                <a:cubicBezTo>
                  <a:pt x="157831" y="172368"/>
                  <a:pt x="160387" y="169814"/>
                  <a:pt x="164221" y="169814"/>
                </a:cubicBezTo>
                <a:close/>
                <a:moveTo>
                  <a:pt x="157831" y="143001"/>
                </a:moveTo>
                <a:cubicBezTo>
                  <a:pt x="157831" y="139171"/>
                  <a:pt x="160387" y="136617"/>
                  <a:pt x="164221" y="136617"/>
                </a:cubicBezTo>
                <a:lnTo>
                  <a:pt x="264544" y="136617"/>
                </a:lnTo>
                <a:cubicBezTo>
                  <a:pt x="268377" y="136617"/>
                  <a:pt x="270934" y="139171"/>
                  <a:pt x="270934" y="143001"/>
                </a:cubicBezTo>
                <a:cubicBezTo>
                  <a:pt x="270934" y="146832"/>
                  <a:pt x="268377" y="149385"/>
                  <a:pt x="264544" y="149385"/>
                </a:cubicBezTo>
                <a:lnTo>
                  <a:pt x="164221" y="149385"/>
                </a:lnTo>
                <a:cubicBezTo>
                  <a:pt x="160387" y="149385"/>
                  <a:pt x="157831" y="146193"/>
                  <a:pt x="157831" y="143001"/>
                </a:cubicBezTo>
                <a:cubicBezTo>
                  <a:pt x="157831" y="143001"/>
                  <a:pt x="157831" y="143001"/>
                  <a:pt x="157831" y="143001"/>
                </a:cubicBezTo>
                <a:lnTo>
                  <a:pt x="157831" y="143001"/>
                </a:lnTo>
                <a:close/>
              </a:path>
            </a:pathLst>
          </a:custGeom>
          <a:solidFill>
            <a:srgbClr val="012169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9" name="Graphic 4">
            <a:extLst>
              <a:ext uri="{FF2B5EF4-FFF2-40B4-BE49-F238E27FC236}">
                <a16:creationId xmlns:a16="http://schemas.microsoft.com/office/drawing/2014/main" id="{0A3CF2BB-D224-96B1-907D-028BE005F891}"/>
              </a:ext>
            </a:extLst>
          </p:cNvPr>
          <p:cNvGrpSpPr>
            <a:grpSpLocks noChangeAspect="1"/>
          </p:cNvGrpSpPr>
          <p:nvPr/>
        </p:nvGrpSpPr>
        <p:grpSpPr>
          <a:xfrm>
            <a:off x="7190607" y="5217913"/>
            <a:ext cx="468000" cy="467558"/>
            <a:chOff x="2559808" y="1885990"/>
            <a:chExt cx="362313" cy="361971"/>
          </a:xfrm>
          <a:solidFill>
            <a:srgbClr val="012169"/>
          </a:solidFill>
        </p:grpSpPr>
        <p:sp>
          <p:nvSpPr>
            <p:cNvPr id="10" name="Graphic 4">
              <a:extLst>
                <a:ext uri="{FF2B5EF4-FFF2-40B4-BE49-F238E27FC236}">
                  <a16:creationId xmlns:a16="http://schemas.microsoft.com/office/drawing/2014/main" id="{9EAB03AC-B778-A946-5123-1E3C1F9FB46B}"/>
                </a:ext>
              </a:extLst>
            </p:cNvPr>
            <p:cNvSpPr/>
            <p:nvPr/>
          </p:nvSpPr>
          <p:spPr>
            <a:xfrm>
              <a:off x="2559808" y="1885990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09 w 362313"/>
                <a:gd name="connsiteY3" fmla="*/ 181305 h 361971"/>
                <a:gd name="connsiteX4" fmla="*/ 362309 w 362313"/>
                <a:gd name="connsiteY4" fmla="*/ 181305 h 361971"/>
                <a:gd name="connsiteX5" fmla="*/ 181474 w 362313"/>
                <a:gd name="connsiteY5" fmla="*/ 0 h 361971"/>
                <a:gd name="connsiteX6" fmla="*/ 181474 w 362313"/>
                <a:gd name="connsiteY6" fmla="*/ 348565 h 361971"/>
                <a:gd name="connsiteX7" fmla="*/ 12780 w 362313"/>
                <a:gd name="connsiteY7" fmla="*/ 180667 h 361971"/>
                <a:gd name="connsiteX8" fmla="*/ 180835 w 362313"/>
                <a:gd name="connsiteY8" fmla="*/ 12130 h 361971"/>
                <a:gd name="connsiteX9" fmla="*/ 349529 w 362313"/>
                <a:gd name="connsiteY9" fmla="*/ 180028 h 361971"/>
                <a:gd name="connsiteX10" fmla="*/ 349529 w 362313"/>
                <a:gd name="connsiteY10" fmla="*/ 180028 h 361971"/>
                <a:gd name="connsiteX11" fmla="*/ 181474 w 362313"/>
                <a:gd name="connsiteY11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948" y="80438"/>
                    <a:pt x="281796" y="0"/>
                    <a:pt x="181474" y="0"/>
                  </a:cubicBezTo>
                  <a:close/>
                  <a:moveTo>
                    <a:pt x="181474" y="348565"/>
                  </a:moveTo>
                  <a:cubicBezTo>
                    <a:pt x="88181" y="348565"/>
                    <a:pt x="12780" y="273235"/>
                    <a:pt x="12780" y="180667"/>
                  </a:cubicBezTo>
                  <a:cubicBezTo>
                    <a:pt x="12780" y="87461"/>
                    <a:pt x="88181" y="12130"/>
                    <a:pt x="180835" y="12130"/>
                  </a:cubicBezTo>
                  <a:cubicBezTo>
                    <a:pt x="274128" y="12130"/>
                    <a:pt x="349529" y="87461"/>
                    <a:pt x="349529" y="180028"/>
                  </a:cubicBezTo>
                  <a:cubicBezTo>
                    <a:pt x="349529" y="180028"/>
                    <a:pt x="349529" y="180028"/>
                    <a:pt x="349529" y="180028"/>
                  </a:cubicBezTo>
                  <a:cubicBezTo>
                    <a:pt x="350168" y="273235"/>
                    <a:pt x="274767" y="348565"/>
                    <a:pt x="181474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Graphic 4">
              <a:extLst>
                <a:ext uri="{FF2B5EF4-FFF2-40B4-BE49-F238E27FC236}">
                  <a16:creationId xmlns:a16="http://schemas.microsoft.com/office/drawing/2014/main" id="{E2F45E11-68BE-D50E-20C9-7E3892D7163F}"/>
                </a:ext>
              </a:extLst>
            </p:cNvPr>
            <p:cNvSpPr/>
            <p:nvPr/>
          </p:nvSpPr>
          <p:spPr>
            <a:xfrm>
              <a:off x="2642779" y="2129859"/>
              <a:ext cx="197867" cy="43411"/>
            </a:xfrm>
            <a:custGeom>
              <a:avLst/>
              <a:gdLst>
                <a:gd name="connsiteX0" fmla="*/ 181573 w 197867"/>
                <a:gd name="connsiteY0" fmla="*/ 3192 h 43411"/>
                <a:gd name="connsiteX1" fmla="*/ 175822 w 197867"/>
                <a:gd name="connsiteY1" fmla="*/ 0 h 43411"/>
                <a:gd name="connsiteX2" fmla="*/ 21825 w 197867"/>
                <a:gd name="connsiteY2" fmla="*/ 0 h 43411"/>
                <a:gd name="connsiteX3" fmla="*/ 16074 w 197867"/>
                <a:gd name="connsiteY3" fmla="*/ 3192 h 43411"/>
                <a:gd name="connsiteX4" fmla="*/ 738 w 197867"/>
                <a:gd name="connsiteY4" fmla="*/ 33835 h 43411"/>
                <a:gd name="connsiteX5" fmla="*/ 738 w 197867"/>
                <a:gd name="connsiteY5" fmla="*/ 40219 h 43411"/>
                <a:gd name="connsiteX6" fmla="*/ 6489 w 197867"/>
                <a:gd name="connsiteY6" fmla="*/ 43411 h 43411"/>
                <a:gd name="connsiteX7" fmla="*/ 191158 w 197867"/>
                <a:gd name="connsiteY7" fmla="*/ 43411 h 43411"/>
                <a:gd name="connsiteX8" fmla="*/ 196909 w 197867"/>
                <a:gd name="connsiteY8" fmla="*/ 40219 h 43411"/>
                <a:gd name="connsiteX9" fmla="*/ 196909 w 197867"/>
                <a:gd name="connsiteY9" fmla="*/ 33835 h 43411"/>
                <a:gd name="connsiteX10" fmla="*/ 181573 w 197867"/>
                <a:gd name="connsiteY10" fmla="*/ 3192 h 43411"/>
                <a:gd name="connsiteX11" fmla="*/ 16713 w 197867"/>
                <a:gd name="connsiteY11" fmla="*/ 30643 h 43411"/>
                <a:gd name="connsiteX12" fmla="*/ 25659 w 197867"/>
                <a:gd name="connsiteY12" fmla="*/ 12768 h 43411"/>
                <a:gd name="connsiteX13" fmla="*/ 171349 w 197867"/>
                <a:gd name="connsiteY13" fmla="*/ 12768 h 43411"/>
                <a:gd name="connsiteX14" fmla="*/ 180295 w 197867"/>
                <a:gd name="connsiteY14" fmla="*/ 30643 h 43411"/>
                <a:gd name="connsiteX15" fmla="*/ 16713 w 197867"/>
                <a:gd name="connsiteY15" fmla="*/ 30643 h 43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7867" h="43411">
                  <a:moveTo>
                    <a:pt x="181573" y="3192"/>
                  </a:moveTo>
                  <a:cubicBezTo>
                    <a:pt x="180295" y="1277"/>
                    <a:pt x="178378" y="0"/>
                    <a:pt x="175822" y="0"/>
                  </a:cubicBezTo>
                  <a:lnTo>
                    <a:pt x="21825" y="0"/>
                  </a:lnTo>
                  <a:cubicBezTo>
                    <a:pt x="19269" y="0"/>
                    <a:pt x="17352" y="1277"/>
                    <a:pt x="16074" y="3192"/>
                  </a:cubicBezTo>
                  <a:lnTo>
                    <a:pt x="738" y="33835"/>
                  </a:lnTo>
                  <a:cubicBezTo>
                    <a:pt x="-540" y="35750"/>
                    <a:pt x="99" y="38304"/>
                    <a:pt x="738" y="40219"/>
                  </a:cubicBezTo>
                  <a:cubicBezTo>
                    <a:pt x="2016" y="42134"/>
                    <a:pt x="3933" y="43411"/>
                    <a:pt x="6489" y="43411"/>
                  </a:cubicBezTo>
                  <a:lnTo>
                    <a:pt x="191158" y="43411"/>
                  </a:lnTo>
                  <a:cubicBezTo>
                    <a:pt x="193075" y="43411"/>
                    <a:pt x="195631" y="42134"/>
                    <a:pt x="196909" y="40219"/>
                  </a:cubicBezTo>
                  <a:cubicBezTo>
                    <a:pt x="198187" y="38304"/>
                    <a:pt x="198187" y="35750"/>
                    <a:pt x="196909" y="33835"/>
                  </a:cubicBezTo>
                  <a:lnTo>
                    <a:pt x="181573" y="3192"/>
                  </a:lnTo>
                  <a:close/>
                  <a:moveTo>
                    <a:pt x="16713" y="30643"/>
                  </a:moveTo>
                  <a:lnTo>
                    <a:pt x="25659" y="12768"/>
                  </a:lnTo>
                  <a:lnTo>
                    <a:pt x="171349" y="12768"/>
                  </a:lnTo>
                  <a:lnTo>
                    <a:pt x="180295" y="30643"/>
                  </a:lnTo>
                  <a:lnTo>
                    <a:pt x="16713" y="3064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Graphic 4">
              <a:extLst>
                <a:ext uri="{FF2B5EF4-FFF2-40B4-BE49-F238E27FC236}">
                  <a16:creationId xmlns:a16="http://schemas.microsoft.com/office/drawing/2014/main" id="{C57C5CCC-44A3-769E-6AE1-5F3F8012BE1E}"/>
                </a:ext>
              </a:extLst>
            </p:cNvPr>
            <p:cNvSpPr/>
            <p:nvPr/>
          </p:nvSpPr>
          <p:spPr>
            <a:xfrm>
              <a:off x="2650923" y="1960364"/>
              <a:ext cx="181898" cy="59051"/>
            </a:xfrm>
            <a:custGeom>
              <a:avLst/>
              <a:gdLst>
                <a:gd name="connsiteX0" fmla="*/ 6013 w 181898"/>
                <a:gd name="connsiteY0" fmla="*/ 59052 h 59051"/>
                <a:gd name="connsiteX1" fmla="*/ 175346 w 181898"/>
                <a:gd name="connsiteY1" fmla="*/ 59052 h 59051"/>
                <a:gd name="connsiteX2" fmla="*/ 181736 w 181898"/>
                <a:gd name="connsiteY2" fmla="*/ 53945 h 59051"/>
                <a:gd name="connsiteX3" fmla="*/ 178541 w 181898"/>
                <a:gd name="connsiteY3" fmla="*/ 46922 h 59051"/>
                <a:gd name="connsiteX4" fmla="*/ 94194 w 181898"/>
                <a:gd name="connsiteY4" fmla="*/ 958 h 59051"/>
                <a:gd name="connsiteX5" fmla="*/ 87804 w 181898"/>
                <a:gd name="connsiteY5" fmla="*/ 958 h 59051"/>
                <a:gd name="connsiteX6" fmla="*/ 3457 w 181898"/>
                <a:gd name="connsiteY6" fmla="*/ 46922 h 59051"/>
                <a:gd name="connsiteX7" fmla="*/ 901 w 181898"/>
                <a:gd name="connsiteY7" fmla="*/ 55860 h 59051"/>
                <a:gd name="connsiteX8" fmla="*/ 6013 w 181898"/>
                <a:gd name="connsiteY8" fmla="*/ 59052 h 59051"/>
                <a:gd name="connsiteX9" fmla="*/ 6013 w 181898"/>
                <a:gd name="connsiteY9" fmla="*/ 59052 h 59051"/>
                <a:gd name="connsiteX10" fmla="*/ 90360 w 181898"/>
                <a:gd name="connsiteY10" fmla="*/ 13726 h 59051"/>
                <a:gd name="connsiteX11" fmla="*/ 149786 w 181898"/>
                <a:gd name="connsiteY11" fmla="*/ 46284 h 59051"/>
                <a:gd name="connsiteX12" fmla="*/ 30933 w 181898"/>
                <a:gd name="connsiteY12" fmla="*/ 46284 h 59051"/>
                <a:gd name="connsiteX13" fmla="*/ 90360 w 181898"/>
                <a:gd name="connsiteY13" fmla="*/ 13726 h 59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1898" h="59051">
                  <a:moveTo>
                    <a:pt x="6013" y="59052"/>
                  </a:moveTo>
                  <a:lnTo>
                    <a:pt x="175346" y="59052"/>
                  </a:lnTo>
                  <a:cubicBezTo>
                    <a:pt x="178541" y="59052"/>
                    <a:pt x="181097" y="57137"/>
                    <a:pt x="181736" y="53945"/>
                  </a:cubicBezTo>
                  <a:cubicBezTo>
                    <a:pt x="182375" y="51391"/>
                    <a:pt x="181097" y="48199"/>
                    <a:pt x="178541" y="46922"/>
                  </a:cubicBezTo>
                  <a:lnTo>
                    <a:pt x="94194" y="958"/>
                  </a:lnTo>
                  <a:cubicBezTo>
                    <a:pt x="92277" y="-319"/>
                    <a:pt x="89721" y="-319"/>
                    <a:pt x="87804" y="958"/>
                  </a:cubicBezTo>
                  <a:lnTo>
                    <a:pt x="3457" y="46922"/>
                  </a:lnTo>
                  <a:cubicBezTo>
                    <a:pt x="262" y="48838"/>
                    <a:pt x="-1016" y="52668"/>
                    <a:pt x="901" y="55860"/>
                  </a:cubicBezTo>
                  <a:cubicBezTo>
                    <a:pt x="1540" y="57775"/>
                    <a:pt x="3457" y="59052"/>
                    <a:pt x="6013" y="59052"/>
                  </a:cubicBezTo>
                  <a:lnTo>
                    <a:pt x="6013" y="59052"/>
                  </a:lnTo>
                  <a:close/>
                  <a:moveTo>
                    <a:pt x="90360" y="13726"/>
                  </a:moveTo>
                  <a:lnTo>
                    <a:pt x="149786" y="46284"/>
                  </a:lnTo>
                  <a:lnTo>
                    <a:pt x="30933" y="46284"/>
                  </a:lnTo>
                  <a:lnTo>
                    <a:pt x="90360" y="1372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Graphic 4">
              <a:extLst>
                <a:ext uri="{FF2B5EF4-FFF2-40B4-BE49-F238E27FC236}">
                  <a16:creationId xmlns:a16="http://schemas.microsoft.com/office/drawing/2014/main" id="{863DF2EC-C36A-1A9C-D675-097054DF5DFC}"/>
                </a:ext>
              </a:extLst>
            </p:cNvPr>
            <p:cNvSpPr/>
            <p:nvPr/>
          </p:nvSpPr>
          <p:spPr>
            <a:xfrm>
              <a:off x="2665881" y="2037291"/>
              <a:ext cx="12779" cy="74054"/>
            </a:xfrm>
            <a:custGeom>
              <a:avLst/>
              <a:gdLst>
                <a:gd name="connsiteX0" fmla="*/ 0 w 12779"/>
                <a:gd name="connsiteY0" fmla="*/ 6384 h 74054"/>
                <a:gd name="connsiteX1" fmla="*/ 0 w 12779"/>
                <a:gd name="connsiteY1" fmla="*/ 67670 h 74054"/>
                <a:gd name="connsiteX2" fmla="*/ 6390 w 12779"/>
                <a:gd name="connsiteY2" fmla="*/ 74054 h 74054"/>
                <a:gd name="connsiteX3" fmla="*/ 12780 w 12779"/>
                <a:gd name="connsiteY3" fmla="*/ 67670 h 74054"/>
                <a:gd name="connsiteX4" fmla="*/ 12780 w 12779"/>
                <a:gd name="connsiteY4" fmla="*/ 6384 h 74054"/>
                <a:gd name="connsiteX5" fmla="*/ 6390 w 12779"/>
                <a:gd name="connsiteY5" fmla="*/ 0 h 74054"/>
                <a:gd name="connsiteX6" fmla="*/ 0 w 12779"/>
                <a:gd name="connsiteY6" fmla="*/ 6384 h 74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74054">
                  <a:moveTo>
                    <a:pt x="0" y="6384"/>
                  </a:moveTo>
                  <a:lnTo>
                    <a:pt x="0" y="67670"/>
                  </a:lnTo>
                  <a:cubicBezTo>
                    <a:pt x="0" y="71501"/>
                    <a:pt x="2556" y="74054"/>
                    <a:pt x="6390" y="74054"/>
                  </a:cubicBezTo>
                  <a:cubicBezTo>
                    <a:pt x="10224" y="74054"/>
                    <a:pt x="12780" y="71501"/>
                    <a:pt x="12780" y="67670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Graphic 4">
              <a:extLst>
                <a:ext uri="{FF2B5EF4-FFF2-40B4-BE49-F238E27FC236}">
                  <a16:creationId xmlns:a16="http://schemas.microsoft.com/office/drawing/2014/main" id="{3B996115-AEF9-58EA-920A-9B4BFC579441}"/>
                </a:ext>
              </a:extLst>
            </p:cNvPr>
            <p:cNvSpPr/>
            <p:nvPr/>
          </p:nvSpPr>
          <p:spPr>
            <a:xfrm>
              <a:off x="2711889" y="2037291"/>
              <a:ext cx="12779" cy="74054"/>
            </a:xfrm>
            <a:custGeom>
              <a:avLst/>
              <a:gdLst>
                <a:gd name="connsiteX0" fmla="*/ 0 w 12779"/>
                <a:gd name="connsiteY0" fmla="*/ 6384 h 74054"/>
                <a:gd name="connsiteX1" fmla="*/ 0 w 12779"/>
                <a:gd name="connsiteY1" fmla="*/ 67670 h 74054"/>
                <a:gd name="connsiteX2" fmla="*/ 6390 w 12779"/>
                <a:gd name="connsiteY2" fmla="*/ 74054 h 74054"/>
                <a:gd name="connsiteX3" fmla="*/ 12780 w 12779"/>
                <a:gd name="connsiteY3" fmla="*/ 67670 h 74054"/>
                <a:gd name="connsiteX4" fmla="*/ 12780 w 12779"/>
                <a:gd name="connsiteY4" fmla="*/ 6384 h 74054"/>
                <a:gd name="connsiteX5" fmla="*/ 6390 w 12779"/>
                <a:gd name="connsiteY5" fmla="*/ 0 h 74054"/>
                <a:gd name="connsiteX6" fmla="*/ 0 w 12779"/>
                <a:gd name="connsiteY6" fmla="*/ 6384 h 74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74054">
                  <a:moveTo>
                    <a:pt x="0" y="6384"/>
                  </a:moveTo>
                  <a:lnTo>
                    <a:pt x="0" y="67670"/>
                  </a:lnTo>
                  <a:cubicBezTo>
                    <a:pt x="0" y="71501"/>
                    <a:pt x="2556" y="74054"/>
                    <a:pt x="6390" y="74054"/>
                  </a:cubicBezTo>
                  <a:cubicBezTo>
                    <a:pt x="10224" y="74054"/>
                    <a:pt x="12780" y="71501"/>
                    <a:pt x="12780" y="67670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Graphic 4">
              <a:extLst>
                <a:ext uri="{FF2B5EF4-FFF2-40B4-BE49-F238E27FC236}">
                  <a16:creationId xmlns:a16="http://schemas.microsoft.com/office/drawing/2014/main" id="{6F179DB0-EC5D-79AF-3D5D-05B4710231D3}"/>
                </a:ext>
              </a:extLst>
            </p:cNvPr>
            <p:cNvSpPr/>
            <p:nvPr/>
          </p:nvSpPr>
          <p:spPr>
            <a:xfrm>
              <a:off x="2758535" y="2037291"/>
              <a:ext cx="12779" cy="74054"/>
            </a:xfrm>
            <a:custGeom>
              <a:avLst/>
              <a:gdLst>
                <a:gd name="connsiteX0" fmla="*/ 0 w 12779"/>
                <a:gd name="connsiteY0" fmla="*/ 6384 h 74054"/>
                <a:gd name="connsiteX1" fmla="*/ 0 w 12779"/>
                <a:gd name="connsiteY1" fmla="*/ 67670 h 74054"/>
                <a:gd name="connsiteX2" fmla="*/ 6390 w 12779"/>
                <a:gd name="connsiteY2" fmla="*/ 74054 h 74054"/>
                <a:gd name="connsiteX3" fmla="*/ 12780 w 12779"/>
                <a:gd name="connsiteY3" fmla="*/ 67670 h 74054"/>
                <a:gd name="connsiteX4" fmla="*/ 12780 w 12779"/>
                <a:gd name="connsiteY4" fmla="*/ 6384 h 74054"/>
                <a:gd name="connsiteX5" fmla="*/ 6390 w 12779"/>
                <a:gd name="connsiteY5" fmla="*/ 0 h 74054"/>
                <a:gd name="connsiteX6" fmla="*/ 0 w 12779"/>
                <a:gd name="connsiteY6" fmla="*/ 6384 h 74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74054">
                  <a:moveTo>
                    <a:pt x="0" y="6384"/>
                  </a:moveTo>
                  <a:lnTo>
                    <a:pt x="0" y="67670"/>
                  </a:lnTo>
                  <a:cubicBezTo>
                    <a:pt x="0" y="71501"/>
                    <a:pt x="2556" y="74054"/>
                    <a:pt x="6390" y="74054"/>
                  </a:cubicBezTo>
                  <a:cubicBezTo>
                    <a:pt x="10224" y="74054"/>
                    <a:pt x="12780" y="71501"/>
                    <a:pt x="12780" y="67670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Graphic 4">
              <a:extLst>
                <a:ext uri="{FF2B5EF4-FFF2-40B4-BE49-F238E27FC236}">
                  <a16:creationId xmlns:a16="http://schemas.microsoft.com/office/drawing/2014/main" id="{ADFB58F1-74E0-84E2-B659-7E43EAEAA708}"/>
                </a:ext>
              </a:extLst>
            </p:cNvPr>
            <p:cNvSpPr/>
            <p:nvPr/>
          </p:nvSpPr>
          <p:spPr>
            <a:xfrm>
              <a:off x="2804543" y="2037291"/>
              <a:ext cx="12779" cy="74054"/>
            </a:xfrm>
            <a:custGeom>
              <a:avLst/>
              <a:gdLst>
                <a:gd name="connsiteX0" fmla="*/ 0 w 12779"/>
                <a:gd name="connsiteY0" fmla="*/ 6384 h 74054"/>
                <a:gd name="connsiteX1" fmla="*/ 0 w 12779"/>
                <a:gd name="connsiteY1" fmla="*/ 67670 h 74054"/>
                <a:gd name="connsiteX2" fmla="*/ 6390 w 12779"/>
                <a:gd name="connsiteY2" fmla="*/ 74054 h 74054"/>
                <a:gd name="connsiteX3" fmla="*/ 12780 w 12779"/>
                <a:gd name="connsiteY3" fmla="*/ 67670 h 74054"/>
                <a:gd name="connsiteX4" fmla="*/ 12780 w 12779"/>
                <a:gd name="connsiteY4" fmla="*/ 6384 h 74054"/>
                <a:gd name="connsiteX5" fmla="*/ 6390 w 12779"/>
                <a:gd name="connsiteY5" fmla="*/ 0 h 74054"/>
                <a:gd name="connsiteX6" fmla="*/ 0 w 12779"/>
                <a:gd name="connsiteY6" fmla="*/ 6384 h 74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74054">
                  <a:moveTo>
                    <a:pt x="0" y="6384"/>
                  </a:moveTo>
                  <a:lnTo>
                    <a:pt x="0" y="67670"/>
                  </a:lnTo>
                  <a:cubicBezTo>
                    <a:pt x="0" y="71501"/>
                    <a:pt x="2556" y="74054"/>
                    <a:pt x="6390" y="74054"/>
                  </a:cubicBezTo>
                  <a:cubicBezTo>
                    <a:pt x="10224" y="74054"/>
                    <a:pt x="12780" y="71501"/>
                    <a:pt x="12780" y="67670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A0BF998-397D-4495-A8BD-5B41CA920CA0}"/>
              </a:ext>
            </a:extLst>
          </p:cNvPr>
          <p:cNvCxnSpPr>
            <a:cxnSpLocks/>
          </p:cNvCxnSpPr>
          <p:nvPr/>
        </p:nvCxnSpPr>
        <p:spPr>
          <a:xfrm>
            <a:off x="7112372" y="4162675"/>
            <a:ext cx="4183200" cy="0"/>
          </a:xfrm>
          <a:prstGeom prst="line">
            <a:avLst/>
          </a:prstGeom>
          <a:ln w="9525"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1CB455C-B62C-EC51-DDD2-729927268966}"/>
              </a:ext>
            </a:extLst>
          </p:cNvPr>
          <p:cNvCxnSpPr>
            <a:cxnSpLocks/>
          </p:cNvCxnSpPr>
          <p:nvPr/>
        </p:nvCxnSpPr>
        <p:spPr>
          <a:xfrm>
            <a:off x="7112372" y="5021020"/>
            <a:ext cx="4183200" cy="0"/>
          </a:xfrm>
          <a:prstGeom prst="line">
            <a:avLst/>
          </a:prstGeom>
          <a:ln w="9525"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A1D26790-14F3-C8C5-8C7A-573D43BBB4E9}"/>
              </a:ext>
            </a:extLst>
          </p:cNvPr>
          <p:cNvSpPr/>
          <p:nvPr/>
        </p:nvSpPr>
        <p:spPr bwMode="gray">
          <a:xfrm>
            <a:off x="3647247" y="3354528"/>
            <a:ext cx="2428732" cy="2406885"/>
          </a:xfrm>
          <a:prstGeom prst="rect">
            <a:avLst/>
          </a:prstGeom>
          <a:noFill/>
          <a:ln w="6350" algn="ctr">
            <a:solidFill>
              <a:srgbClr val="01216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8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BBC51E-F3D2-DB2B-7E34-5F7C091FBA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44AC35C1-CE8F-4A58-856B-FF8545C84ACE}"/>
              </a:ext>
            </a:extLst>
          </p:cNvPr>
          <p:cNvSpPr/>
          <p:nvPr/>
        </p:nvSpPr>
        <p:spPr bwMode="gray">
          <a:xfrm>
            <a:off x="6286500" y="2117356"/>
            <a:ext cx="5405455" cy="4083419"/>
          </a:xfrm>
          <a:prstGeom prst="roundRect">
            <a:avLst>
              <a:gd name="adj" fmla="val 3708"/>
            </a:avLst>
          </a:prstGeom>
          <a:solidFill>
            <a:srgbClr val="F6F8F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EEA5D03-659A-2A97-0065-403FBD371FAB}"/>
              </a:ext>
            </a:extLst>
          </p:cNvPr>
          <p:cNvCxnSpPr>
            <a:cxnSpLocks/>
          </p:cNvCxnSpPr>
          <p:nvPr/>
        </p:nvCxnSpPr>
        <p:spPr>
          <a:xfrm>
            <a:off x="8906687" y="1066058"/>
            <a:ext cx="3276000" cy="0"/>
          </a:xfrm>
          <a:prstGeom prst="line">
            <a:avLst/>
          </a:prstGeom>
          <a:noFill/>
          <a:ln w="12700" cap="flat" cmpd="sng" algn="ctr">
            <a:solidFill>
              <a:srgbClr val="DEA726"/>
            </a:solidFill>
            <a:prstDash val="solid"/>
          </a:ln>
          <a:effectLst/>
        </p:spPr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F949698D-6F37-3856-9891-C859A9D4F558}"/>
              </a:ext>
            </a:extLst>
          </p:cNvPr>
          <p:cNvSpPr/>
          <p:nvPr/>
        </p:nvSpPr>
        <p:spPr bwMode="gray">
          <a:xfrm>
            <a:off x="8823382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FD94CD6-3942-69AE-2666-723707296FE0}"/>
              </a:ext>
            </a:extLst>
          </p:cNvPr>
          <p:cNvSpPr/>
          <p:nvPr/>
        </p:nvSpPr>
        <p:spPr bwMode="gray">
          <a:xfrm>
            <a:off x="9370600" y="904058"/>
            <a:ext cx="324000" cy="324000"/>
          </a:xfrm>
          <a:prstGeom prst="ellipse">
            <a:avLst/>
          </a:prstGeom>
          <a:solidFill>
            <a:srgbClr val="DEA726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02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B4FFEC15-D6C3-E452-19F5-F3A267BE51B0}"/>
              </a:ext>
            </a:extLst>
          </p:cNvPr>
          <p:cNvSpPr/>
          <p:nvPr/>
        </p:nvSpPr>
        <p:spPr bwMode="gray">
          <a:xfrm>
            <a:off x="10465036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4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11D062E1-A3F1-2D2E-4E86-D0E1337623A7}"/>
              </a:ext>
            </a:extLst>
          </p:cNvPr>
          <p:cNvSpPr/>
          <p:nvPr/>
        </p:nvSpPr>
        <p:spPr bwMode="gray">
          <a:xfrm>
            <a:off x="9917818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ca-ES" sz="700" kern="0" dirty="0">
                <a:solidFill>
                  <a:srgbClr val="DEA726"/>
                </a:solidFill>
                <a:latin typeface="Aptos" panose="020B0004020202020204" pitchFamily="34" charset="0"/>
              </a:rPr>
              <a:t>03</a:t>
            </a:r>
            <a:endParaRPr kumimoji="0" lang="ca-ES" sz="700" b="0" i="0" u="none" strike="noStrike" kern="0" cap="none" spc="0" normalizeH="0" baseline="0" noProof="0" dirty="0">
              <a:ln>
                <a:noFill/>
              </a:ln>
              <a:solidFill>
                <a:srgbClr val="DEA726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FD108C16-B4B7-842D-2C4A-8CC8D561F58B}"/>
              </a:ext>
            </a:extLst>
          </p:cNvPr>
          <p:cNvSpPr/>
          <p:nvPr/>
        </p:nvSpPr>
        <p:spPr bwMode="gray">
          <a:xfrm>
            <a:off x="11012254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5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A85945F8-81B4-97CC-87BD-57391DD5C16A}"/>
              </a:ext>
            </a:extLst>
          </p:cNvPr>
          <p:cNvSpPr/>
          <p:nvPr/>
        </p:nvSpPr>
        <p:spPr bwMode="gray">
          <a:xfrm>
            <a:off x="11559471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6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24FB398-3F49-BBE5-8B11-0089B4CA45D9}"/>
              </a:ext>
            </a:extLst>
          </p:cNvPr>
          <p:cNvSpPr txBox="1">
            <a:spLocks/>
          </p:cNvSpPr>
          <p:nvPr/>
        </p:nvSpPr>
        <p:spPr>
          <a:xfrm>
            <a:off x="484481" y="834325"/>
            <a:ext cx="50338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rgbClr val="DFA726"/>
                </a:solidFill>
                <a:latin typeface="Trebuchet MS"/>
                <a:cs typeface="Trebuchet MS"/>
              </a:defRPr>
            </a:lvl1pPr>
            <a:lvl2pPr marL="179388" indent="-179388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2pPr>
            <a:lvl3pPr marL="360363" indent="-180975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900" b="0" kern="120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3pPr>
            <a:lvl4pPr marL="538163" indent="-1778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900" b="0" kern="1200" baseline="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4pPr>
            <a:lvl5pPr marL="717550" indent="-179388" algn="l" defTabSz="5988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900" b="0" kern="1200" baseline="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a-ES" b="1" dirty="0"/>
              <a:t>FASES DEL PROCESO </a:t>
            </a:r>
            <a:r>
              <a:rPr lang="ca-ES" dirty="0"/>
              <a:t>| </a:t>
            </a:r>
            <a:r>
              <a:rPr lang="ca-ES" dirty="0">
                <a:solidFill>
                  <a:srgbClr val="012169"/>
                </a:solidFill>
              </a:rPr>
              <a:t>Datos de contacto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0BC0175-1BB1-CEC4-D446-ACD164E7C4CF}"/>
              </a:ext>
            </a:extLst>
          </p:cNvPr>
          <p:cNvSpPr txBox="1"/>
          <p:nvPr/>
        </p:nvSpPr>
        <p:spPr>
          <a:xfrm>
            <a:off x="500045" y="1299575"/>
            <a:ext cx="779623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>
              <a:buNone/>
            </a:pPr>
            <a:r>
              <a:rPr lang="es-ES" sz="1400" dirty="0">
                <a:solidFill>
                  <a:schemeClr val="tx1">
                    <a:lumMod val="50000"/>
                  </a:schemeClr>
                </a:solidFill>
              </a:rPr>
              <a:t>Inicio de la fase de registro del usuario para la recogida de información básica necesaria para establecer el canal de comunicación y avanzar en la validación inicial de identidad.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C4B4404-EA93-56F6-DF75-595434EE40F9}"/>
              </a:ext>
            </a:extLst>
          </p:cNvPr>
          <p:cNvSpPr txBox="1"/>
          <p:nvPr/>
        </p:nvSpPr>
        <p:spPr>
          <a:xfrm>
            <a:off x="1149015" y="2201992"/>
            <a:ext cx="23322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0" algn="just">
              <a:buFont typeface="Wingdings" panose="05000000000000000000" pitchFamily="2" charset="2"/>
              <a:buNone/>
              <a:defRPr sz="1200" b="1">
                <a:solidFill>
                  <a:srgbClr val="012169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r>
              <a:rPr lang="es-ES" dirty="0"/>
              <a:t>CAPTURA DE DATOS BÁSICO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CA8EE52-5182-5003-7FFD-7A66C7784DCF}"/>
              </a:ext>
            </a:extLst>
          </p:cNvPr>
          <p:cNvSpPr txBox="1"/>
          <p:nvPr/>
        </p:nvSpPr>
        <p:spPr>
          <a:xfrm>
            <a:off x="1149015" y="2563588"/>
            <a:ext cx="4896000" cy="90024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>
              <a:buNone/>
            </a:pPr>
            <a:r>
              <a:rPr lang="es-ES" dirty="0">
                <a:solidFill>
                  <a:srgbClr val="012169"/>
                </a:solidFill>
                <a:latin typeface="Trebuchet MS" panose="020B0603020202020204" pitchFamily="34" charset="0"/>
              </a:rPr>
              <a:t>Introducción de los datos para garantizar la continuidad del proceso:</a:t>
            </a:r>
          </a:p>
          <a:p>
            <a:pPr>
              <a:buClr>
                <a:srgbClr val="FDC124"/>
              </a:buClr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  <a:latin typeface="Trebuchet MS" panose="020B0603020202020204" pitchFamily="34" charset="0"/>
              </a:rPr>
              <a:t>Nombre y apellidos</a:t>
            </a:r>
          </a:p>
          <a:p>
            <a:pPr>
              <a:buClr>
                <a:srgbClr val="FDC124"/>
              </a:buClr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  <a:latin typeface="Trebuchet MS" panose="020B0603020202020204" pitchFamily="34" charset="0"/>
              </a:rPr>
              <a:t>Correo electrónico</a:t>
            </a:r>
          </a:p>
          <a:p>
            <a:pPr>
              <a:buClr>
                <a:srgbClr val="FDC124"/>
              </a:buClr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  <a:latin typeface="Trebuchet MS" panose="020B0603020202020204" pitchFamily="34" charset="0"/>
              </a:rPr>
              <a:t>Prefijo internacional y teléfono</a:t>
            </a:r>
          </a:p>
          <a:p>
            <a:pPr marL="0" indent="0">
              <a:buNone/>
            </a:pPr>
            <a:r>
              <a:rPr lang="es-ES" dirty="0">
                <a:solidFill>
                  <a:srgbClr val="012169"/>
                </a:solidFill>
                <a:latin typeface="Trebuchet MS" panose="020B0603020202020204" pitchFamily="34" charset="0"/>
              </a:rPr>
              <a:t>Estructura sencilla y guiada para minimizar errores de introducción.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D6092AC-4B4C-3D7D-4BD6-5B7A39E4B361}"/>
              </a:ext>
            </a:extLst>
          </p:cNvPr>
          <p:cNvCxnSpPr>
            <a:cxnSpLocks/>
          </p:cNvCxnSpPr>
          <p:nvPr/>
        </p:nvCxnSpPr>
        <p:spPr>
          <a:xfrm>
            <a:off x="1149015" y="2521289"/>
            <a:ext cx="2196000" cy="0"/>
          </a:xfrm>
          <a:prstGeom prst="line">
            <a:avLst/>
          </a:prstGeom>
          <a:ln>
            <a:solidFill>
              <a:srgbClr val="FDC1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" name="Picture 68">
            <a:extLst>
              <a:ext uri="{FF2B5EF4-FFF2-40B4-BE49-F238E27FC236}">
                <a16:creationId xmlns:a16="http://schemas.microsoft.com/office/drawing/2014/main" id="{E5F69BE8-D1A7-C440-F8DE-33EC022A217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9560"/>
          <a:stretch>
            <a:fillRect/>
          </a:stretch>
        </p:blipFill>
        <p:spPr>
          <a:xfrm>
            <a:off x="1271128" y="3725622"/>
            <a:ext cx="3205681" cy="2196644"/>
          </a:xfrm>
          <a:prstGeom prst="rect">
            <a:avLst/>
          </a:prstGeom>
          <a:ln>
            <a:solidFill>
              <a:srgbClr val="012169"/>
            </a:solidFill>
          </a:ln>
        </p:spPr>
      </p:pic>
      <p:grpSp>
        <p:nvGrpSpPr>
          <p:cNvPr id="72" name="Graphic 4">
            <a:extLst>
              <a:ext uri="{FF2B5EF4-FFF2-40B4-BE49-F238E27FC236}">
                <a16:creationId xmlns:a16="http://schemas.microsoft.com/office/drawing/2014/main" id="{CC6E3A83-7EAB-22A5-2C8B-FFB4C98CA5DA}"/>
              </a:ext>
            </a:extLst>
          </p:cNvPr>
          <p:cNvGrpSpPr>
            <a:grpSpLocks noChangeAspect="1"/>
          </p:cNvGrpSpPr>
          <p:nvPr/>
        </p:nvGrpSpPr>
        <p:grpSpPr>
          <a:xfrm>
            <a:off x="6508333" y="4957811"/>
            <a:ext cx="362313" cy="361971"/>
            <a:chOff x="5708130" y="2855717"/>
            <a:chExt cx="362313" cy="361971"/>
          </a:xfrm>
          <a:solidFill>
            <a:srgbClr val="012169"/>
          </a:solidFill>
        </p:grpSpPr>
        <p:sp>
          <p:nvSpPr>
            <p:cNvPr id="73" name="Graphic 4">
              <a:extLst>
                <a:ext uri="{FF2B5EF4-FFF2-40B4-BE49-F238E27FC236}">
                  <a16:creationId xmlns:a16="http://schemas.microsoft.com/office/drawing/2014/main" id="{26820ABC-744A-9C38-0E0C-EBEBB98F4353}"/>
                </a:ext>
              </a:extLst>
            </p:cNvPr>
            <p:cNvSpPr/>
            <p:nvPr/>
          </p:nvSpPr>
          <p:spPr>
            <a:xfrm>
              <a:off x="5708130" y="2855717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10 w 362313"/>
                <a:gd name="connsiteY3" fmla="*/ 181305 h 361971"/>
                <a:gd name="connsiteX4" fmla="*/ 362310 w 362313"/>
                <a:gd name="connsiteY4" fmla="*/ 181305 h 361971"/>
                <a:gd name="connsiteX5" fmla="*/ 181474 w 362313"/>
                <a:gd name="connsiteY5" fmla="*/ 0 h 361971"/>
                <a:gd name="connsiteX6" fmla="*/ 181474 w 362313"/>
                <a:gd name="connsiteY6" fmla="*/ 349204 h 361971"/>
                <a:gd name="connsiteX7" fmla="*/ 12780 w 362313"/>
                <a:gd name="connsiteY7" fmla="*/ 181305 h 361971"/>
                <a:gd name="connsiteX8" fmla="*/ 180835 w 362313"/>
                <a:gd name="connsiteY8" fmla="*/ 12768 h 361971"/>
                <a:gd name="connsiteX9" fmla="*/ 349530 w 362313"/>
                <a:gd name="connsiteY9" fmla="*/ 180667 h 361971"/>
                <a:gd name="connsiteX10" fmla="*/ 349530 w 362313"/>
                <a:gd name="connsiteY10" fmla="*/ 180667 h 361971"/>
                <a:gd name="connsiteX11" fmla="*/ 181474 w 362313"/>
                <a:gd name="connsiteY11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6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948" y="80438"/>
                    <a:pt x="281796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2768"/>
                    <a:pt x="180835" y="12768"/>
                  </a:cubicBezTo>
                  <a:cubicBezTo>
                    <a:pt x="274128" y="12768"/>
                    <a:pt x="349530" y="88099"/>
                    <a:pt x="349530" y="180667"/>
                  </a:cubicBezTo>
                  <a:cubicBezTo>
                    <a:pt x="349530" y="180667"/>
                    <a:pt x="349530" y="180667"/>
                    <a:pt x="349530" y="180667"/>
                  </a:cubicBezTo>
                  <a:cubicBezTo>
                    <a:pt x="349530" y="273234"/>
                    <a:pt x="274767" y="348565"/>
                    <a:pt x="181474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Graphic 4">
              <a:extLst>
                <a:ext uri="{FF2B5EF4-FFF2-40B4-BE49-F238E27FC236}">
                  <a16:creationId xmlns:a16="http://schemas.microsoft.com/office/drawing/2014/main" id="{8A2280C0-8C27-7B84-45A6-2DEF13A06026}"/>
                </a:ext>
              </a:extLst>
            </p:cNvPr>
            <p:cNvSpPr/>
            <p:nvPr/>
          </p:nvSpPr>
          <p:spPr>
            <a:xfrm>
              <a:off x="5782254" y="2953392"/>
              <a:ext cx="214701" cy="165983"/>
            </a:xfrm>
            <a:custGeom>
              <a:avLst/>
              <a:gdLst>
                <a:gd name="connsiteX0" fmla="*/ 208312 w 214701"/>
                <a:gd name="connsiteY0" fmla="*/ 15322 h 165983"/>
                <a:gd name="connsiteX1" fmla="*/ 156553 w 214701"/>
                <a:gd name="connsiteY1" fmla="*/ 15322 h 165983"/>
                <a:gd name="connsiteX2" fmla="*/ 156553 w 214701"/>
                <a:gd name="connsiteY2" fmla="*/ 6384 h 165983"/>
                <a:gd name="connsiteX3" fmla="*/ 150164 w 214701"/>
                <a:gd name="connsiteY3" fmla="*/ 0 h 165983"/>
                <a:gd name="connsiteX4" fmla="*/ 64538 w 214701"/>
                <a:gd name="connsiteY4" fmla="*/ 0 h 165983"/>
                <a:gd name="connsiteX5" fmla="*/ 58148 w 214701"/>
                <a:gd name="connsiteY5" fmla="*/ 6384 h 165983"/>
                <a:gd name="connsiteX6" fmla="*/ 58148 w 214701"/>
                <a:gd name="connsiteY6" fmla="*/ 14683 h 165983"/>
                <a:gd name="connsiteX7" fmla="*/ 6390 w 214701"/>
                <a:gd name="connsiteY7" fmla="*/ 14683 h 165983"/>
                <a:gd name="connsiteX8" fmla="*/ 0 w 214701"/>
                <a:gd name="connsiteY8" fmla="*/ 21067 h 165983"/>
                <a:gd name="connsiteX9" fmla="*/ 0 w 214701"/>
                <a:gd name="connsiteY9" fmla="*/ 159600 h 165983"/>
                <a:gd name="connsiteX10" fmla="*/ 6390 w 214701"/>
                <a:gd name="connsiteY10" fmla="*/ 165984 h 165983"/>
                <a:gd name="connsiteX11" fmla="*/ 208312 w 214701"/>
                <a:gd name="connsiteY11" fmla="*/ 165984 h 165983"/>
                <a:gd name="connsiteX12" fmla="*/ 214702 w 214701"/>
                <a:gd name="connsiteY12" fmla="*/ 159600 h 165983"/>
                <a:gd name="connsiteX13" fmla="*/ 214702 w 214701"/>
                <a:gd name="connsiteY13" fmla="*/ 21706 h 165983"/>
                <a:gd name="connsiteX14" fmla="*/ 208312 w 214701"/>
                <a:gd name="connsiteY14" fmla="*/ 15322 h 165983"/>
                <a:gd name="connsiteX15" fmla="*/ 70928 w 214701"/>
                <a:gd name="connsiteY15" fmla="*/ 12768 h 165983"/>
                <a:gd name="connsiteX16" fmla="*/ 144412 w 214701"/>
                <a:gd name="connsiteY16" fmla="*/ 12768 h 165983"/>
                <a:gd name="connsiteX17" fmla="*/ 144412 w 214701"/>
                <a:gd name="connsiteY17" fmla="*/ 30005 h 165983"/>
                <a:gd name="connsiteX18" fmla="*/ 70928 w 214701"/>
                <a:gd name="connsiteY18" fmla="*/ 30005 h 165983"/>
                <a:gd name="connsiteX19" fmla="*/ 70928 w 214701"/>
                <a:gd name="connsiteY19" fmla="*/ 12768 h 165983"/>
                <a:gd name="connsiteX20" fmla="*/ 201922 w 214701"/>
                <a:gd name="connsiteY20" fmla="*/ 153216 h 165983"/>
                <a:gd name="connsiteX21" fmla="*/ 12780 w 214701"/>
                <a:gd name="connsiteY21" fmla="*/ 153216 h 165983"/>
                <a:gd name="connsiteX22" fmla="*/ 12780 w 214701"/>
                <a:gd name="connsiteY22" fmla="*/ 28089 h 165983"/>
                <a:gd name="connsiteX23" fmla="*/ 58148 w 214701"/>
                <a:gd name="connsiteY23" fmla="*/ 28089 h 165983"/>
                <a:gd name="connsiteX24" fmla="*/ 58148 w 214701"/>
                <a:gd name="connsiteY24" fmla="*/ 36389 h 165983"/>
                <a:gd name="connsiteX25" fmla="*/ 64538 w 214701"/>
                <a:gd name="connsiteY25" fmla="*/ 42773 h 165983"/>
                <a:gd name="connsiteX26" fmla="*/ 150802 w 214701"/>
                <a:gd name="connsiteY26" fmla="*/ 42773 h 165983"/>
                <a:gd name="connsiteX27" fmla="*/ 157192 w 214701"/>
                <a:gd name="connsiteY27" fmla="*/ 36389 h 165983"/>
                <a:gd name="connsiteX28" fmla="*/ 157192 w 214701"/>
                <a:gd name="connsiteY28" fmla="*/ 28089 h 165983"/>
                <a:gd name="connsiteX29" fmla="*/ 202561 w 214701"/>
                <a:gd name="connsiteY29" fmla="*/ 28089 h 165983"/>
                <a:gd name="connsiteX30" fmla="*/ 201922 w 214701"/>
                <a:gd name="connsiteY30" fmla="*/ 153216 h 165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14701" h="165983">
                  <a:moveTo>
                    <a:pt x="208312" y="15322"/>
                  </a:moveTo>
                  <a:lnTo>
                    <a:pt x="156553" y="15322"/>
                  </a:lnTo>
                  <a:lnTo>
                    <a:pt x="156553" y="6384"/>
                  </a:lnTo>
                  <a:cubicBezTo>
                    <a:pt x="156553" y="2554"/>
                    <a:pt x="153997" y="0"/>
                    <a:pt x="150164" y="0"/>
                  </a:cubicBezTo>
                  <a:lnTo>
                    <a:pt x="64538" y="0"/>
                  </a:lnTo>
                  <a:cubicBezTo>
                    <a:pt x="60704" y="0"/>
                    <a:pt x="58148" y="2554"/>
                    <a:pt x="58148" y="6384"/>
                  </a:cubicBezTo>
                  <a:lnTo>
                    <a:pt x="58148" y="14683"/>
                  </a:lnTo>
                  <a:lnTo>
                    <a:pt x="6390" y="14683"/>
                  </a:lnTo>
                  <a:cubicBezTo>
                    <a:pt x="2556" y="14683"/>
                    <a:pt x="0" y="17237"/>
                    <a:pt x="0" y="21067"/>
                  </a:cubicBezTo>
                  <a:lnTo>
                    <a:pt x="0" y="159600"/>
                  </a:lnTo>
                  <a:cubicBezTo>
                    <a:pt x="0" y="163430"/>
                    <a:pt x="2556" y="165984"/>
                    <a:pt x="6390" y="165984"/>
                  </a:cubicBezTo>
                  <a:lnTo>
                    <a:pt x="208312" y="165984"/>
                  </a:lnTo>
                  <a:cubicBezTo>
                    <a:pt x="212146" y="165984"/>
                    <a:pt x="214702" y="163430"/>
                    <a:pt x="214702" y="159600"/>
                  </a:cubicBezTo>
                  <a:lnTo>
                    <a:pt x="214702" y="21706"/>
                  </a:lnTo>
                  <a:cubicBezTo>
                    <a:pt x="214702" y="17875"/>
                    <a:pt x="212146" y="15322"/>
                    <a:pt x="208312" y="15322"/>
                  </a:cubicBezTo>
                  <a:close/>
                  <a:moveTo>
                    <a:pt x="70928" y="12768"/>
                  </a:moveTo>
                  <a:lnTo>
                    <a:pt x="144412" y="12768"/>
                  </a:lnTo>
                  <a:lnTo>
                    <a:pt x="144412" y="30005"/>
                  </a:lnTo>
                  <a:lnTo>
                    <a:pt x="70928" y="30005"/>
                  </a:lnTo>
                  <a:lnTo>
                    <a:pt x="70928" y="12768"/>
                  </a:lnTo>
                  <a:close/>
                  <a:moveTo>
                    <a:pt x="201922" y="153216"/>
                  </a:moveTo>
                  <a:lnTo>
                    <a:pt x="12780" y="153216"/>
                  </a:lnTo>
                  <a:lnTo>
                    <a:pt x="12780" y="28089"/>
                  </a:lnTo>
                  <a:lnTo>
                    <a:pt x="58148" y="28089"/>
                  </a:lnTo>
                  <a:lnTo>
                    <a:pt x="58148" y="36389"/>
                  </a:lnTo>
                  <a:cubicBezTo>
                    <a:pt x="58148" y="40219"/>
                    <a:pt x="60704" y="42773"/>
                    <a:pt x="64538" y="42773"/>
                  </a:cubicBezTo>
                  <a:lnTo>
                    <a:pt x="150802" y="42773"/>
                  </a:lnTo>
                  <a:cubicBezTo>
                    <a:pt x="154636" y="42773"/>
                    <a:pt x="157192" y="40219"/>
                    <a:pt x="157192" y="36389"/>
                  </a:cubicBezTo>
                  <a:lnTo>
                    <a:pt x="157192" y="28089"/>
                  </a:lnTo>
                  <a:lnTo>
                    <a:pt x="202561" y="28089"/>
                  </a:lnTo>
                  <a:lnTo>
                    <a:pt x="201922" y="15321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Graphic 4">
              <a:extLst>
                <a:ext uri="{FF2B5EF4-FFF2-40B4-BE49-F238E27FC236}">
                  <a16:creationId xmlns:a16="http://schemas.microsoft.com/office/drawing/2014/main" id="{EDE72556-46E7-E463-8EFC-7496BFC1FD6C}"/>
                </a:ext>
              </a:extLst>
            </p:cNvPr>
            <p:cNvSpPr/>
            <p:nvPr/>
          </p:nvSpPr>
          <p:spPr>
            <a:xfrm>
              <a:off x="5810369" y="3012125"/>
              <a:ext cx="63260" cy="63201"/>
            </a:xfrm>
            <a:custGeom>
              <a:avLst/>
              <a:gdLst>
                <a:gd name="connsiteX0" fmla="*/ 56871 w 63260"/>
                <a:gd name="connsiteY0" fmla="*/ 0 h 63201"/>
                <a:gd name="connsiteX1" fmla="*/ 6390 w 63260"/>
                <a:gd name="connsiteY1" fmla="*/ 0 h 63201"/>
                <a:gd name="connsiteX2" fmla="*/ 0 w 63260"/>
                <a:gd name="connsiteY2" fmla="*/ 6384 h 63201"/>
                <a:gd name="connsiteX3" fmla="*/ 0 w 63260"/>
                <a:gd name="connsiteY3" fmla="*/ 56817 h 63201"/>
                <a:gd name="connsiteX4" fmla="*/ 6390 w 63260"/>
                <a:gd name="connsiteY4" fmla="*/ 63201 h 63201"/>
                <a:gd name="connsiteX5" fmla="*/ 56871 w 63260"/>
                <a:gd name="connsiteY5" fmla="*/ 63201 h 63201"/>
                <a:gd name="connsiteX6" fmla="*/ 63261 w 63260"/>
                <a:gd name="connsiteY6" fmla="*/ 56817 h 63201"/>
                <a:gd name="connsiteX7" fmla="*/ 63261 w 63260"/>
                <a:gd name="connsiteY7" fmla="*/ 6384 h 63201"/>
                <a:gd name="connsiteX8" fmla="*/ 56871 w 63260"/>
                <a:gd name="connsiteY8" fmla="*/ 0 h 63201"/>
                <a:gd name="connsiteX9" fmla="*/ 50481 w 63260"/>
                <a:gd name="connsiteY9" fmla="*/ 50433 h 63201"/>
                <a:gd name="connsiteX10" fmla="*/ 12780 w 63260"/>
                <a:gd name="connsiteY10" fmla="*/ 50433 h 63201"/>
                <a:gd name="connsiteX11" fmla="*/ 12780 w 63260"/>
                <a:gd name="connsiteY11" fmla="*/ 12768 h 63201"/>
                <a:gd name="connsiteX12" fmla="*/ 50481 w 63260"/>
                <a:gd name="connsiteY12" fmla="*/ 12768 h 63201"/>
                <a:gd name="connsiteX13" fmla="*/ 50481 w 63260"/>
                <a:gd name="connsiteY13" fmla="*/ 50433 h 6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260" h="63201">
                  <a:moveTo>
                    <a:pt x="56871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56817"/>
                  </a:lnTo>
                  <a:cubicBezTo>
                    <a:pt x="0" y="60648"/>
                    <a:pt x="2556" y="63201"/>
                    <a:pt x="6390" y="63201"/>
                  </a:cubicBezTo>
                  <a:lnTo>
                    <a:pt x="56871" y="63201"/>
                  </a:lnTo>
                  <a:cubicBezTo>
                    <a:pt x="60704" y="63201"/>
                    <a:pt x="63261" y="60648"/>
                    <a:pt x="63261" y="56817"/>
                  </a:cubicBezTo>
                  <a:lnTo>
                    <a:pt x="63261" y="6384"/>
                  </a:lnTo>
                  <a:cubicBezTo>
                    <a:pt x="63261" y="3192"/>
                    <a:pt x="60704" y="0"/>
                    <a:pt x="56871" y="0"/>
                  </a:cubicBezTo>
                  <a:close/>
                  <a:moveTo>
                    <a:pt x="50481" y="50433"/>
                  </a:moveTo>
                  <a:lnTo>
                    <a:pt x="12780" y="50433"/>
                  </a:lnTo>
                  <a:lnTo>
                    <a:pt x="12780" y="12768"/>
                  </a:lnTo>
                  <a:lnTo>
                    <a:pt x="50481" y="12768"/>
                  </a:lnTo>
                  <a:lnTo>
                    <a:pt x="50481" y="5043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Graphic 4">
              <a:extLst>
                <a:ext uri="{FF2B5EF4-FFF2-40B4-BE49-F238E27FC236}">
                  <a16:creationId xmlns:a16="http://schemas.microsoft.com/office/drawing/2014/main" id="{929B34EF-A401-3E85-FC54-4700BCBD83E6}"/>
                </a:ext>
              </a:extLst>
            </p:cNvPr>
            <p:cNvSpPr/>
            <p:nvPr/>
          </p:nvSpPr>
          <p:spPr>
            <a:xfrm>
              <a:off x="5895995" y="3008295"/>
              <a:ext cx="73484" cy="12767"/>
            </a:xfrm>
            <a:custGeom>
              <a:avLst/>
              <a:gdLst>
                <a:gd name="connsiteX0" fmla="*/ 6390 w 73484"/>
                <a:gd name="connsiteY0" fmla="*/ 0 h 12767"/>
                <a:gd name="connsiteX1" fmla="*/ 0 w 73484"/>
                <a:gd name="connsiteY1" fmla="*/ 6384 h 12767"/>
                <a:gd name="connsiteX2" fmla="*/ 6390 w 73484"/>
                <a:gd name="connsiteY2" fmla="*/ 12768 h 12767"/>
                <a:gd name="connsiteX3" fmla="*/ 67094 w 73484"/>
                <a:gd name="connsiteY3" fmla="*/ 12768 h 12767"/>
                <a:gd name="connsiteX4" fmla="*/ 73484 w 73484"/>
                <a:gd name="connsiteY4" fmla="*/ 6384 h 12767"/>
                <a:gd name="connsiteX5" fmla="*/ 67094 w 73484"/>
                <a:gd name="connsiteY5" fmla="*/ 0 h 12767"/>
                <a:gd name="connsiteX6" fmla="*/ 6390 w 73484"/>
                <a:gd name="connsiteY6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84" h="12767">
                  <a:moveTo>
                    <a:pt x="6390" y="0"/>
                  </a:move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67094" y="12768"/>
                  </a:lnTo>
                  <a:cubicBezTo>
                    <a:pt x="70928" y="12768"/>
                    <a:pt x="73484" y="10214"/>
                    <a:pt x="73484" y="6384"/>
                  </a:cubicBezTo>
                  <a:cubicBezTo>
                    <a:pt x="73484" y="2554"/>
                    <a:pt x="70928" y="0"/>
                    <a:pt x="67094" y="0"/>
                  </a:cubicBezTo>
                  <a:lnTo>
                    <a:pt x="639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Graphic 4">
              <a:extLst>
                <a:ext uri="{FF2B5EF4-FFF2-40B4-BE49-F238E27FC236}">
                  <a16:creationId xmlns:a16="http://schemas.microsoft.com/office/drawing/2014/main" id="{87C52000-F0F0-CBB3-DBBE-E3DE2A247860}"/>
                </a:ext>
              </a:extLst>
            </p:cNvPr>
            <p:cNvSpPr/>
            <p:nvPr/>
          </p:nvSpPr>
          <p:spPr>
            <a:xfrm>
              <a:off x="5895995" y="3037661"/>
              <a:ext cx="73484" cy="12767"/>
            </a:xfrm>
            <a:custGeom>
              <a:avLst/>
              <a:gdLst>
                <a:gd name="connsiteX0" fmla="*/ 67094 w 73484"/>
                <a:gd name="connsiteY0" fmla="*/ 0 h 12767"/>
                <a:gd name="connsiteX1" fmla="*/ 6390 w 73484"/>
                <a:gd name="connsiteY1" fmla="*/ 0 h 12767"/>
                <a:gd name="connsiteX2" fmla="*/ 0 w 73484"/>
                <a:gd name="connsiteY2" fmla="*/ 6384 h 12767"/>
                <a:gd name="connsiteX3" fmla="*/ 6390 w 73484"/>
                <a:gd name="connsiteY3" fmla="*/ 12768 h 12767"/>
                <a:gd name="connsiteX4" fmla="*/ 67094 w 73484"/>
                <a:gd name="connsiteY4" fmla="*/ 12768 h 12767"/>
                <a:gd name="connsiteX5" fmla="*/ 73484 w 73484"/>
                <a:gd name="connsiteY5" fmla="*/ 6384 h 12767"/>
                <a:gd name="connsiteX6" fmla="*/ 67094 w 73484"/>
                <a:gd name="connsiteY6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84" h="12767">
                  <a:moveTo>
                    <a:pt x="67094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67094" y="12768"/>
                  </a:lnTo>
                  <a:cubicBezTo>
                    <a:pt x="70928" y="12768"/>
                    <a:pt x="73484" y="10214"/>
                    <a:pt x="73484" y="6384"/>
                  </a:cubicBezTo>
                  <a:cubicBezTo>
                    <a:pt x="73484" y="2554"/>
                    <a:pt x="70289" y="0"/>
                    <a:pt x="67094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Graphic 4">
              <a:extLst>
                <a:ext uri="{FF2B5EF4-FFF2-40B4-BE49-F238E27FC236}">
                  <a16:creationId xmlns:a16="http://schemas.microsoft.com/office/drawing/2014/main" id="{CD02BEA1-F3C0-95D5-3F45-63A8BDD8CCB4}"/>
                </a:ext>
              </a:extLst>
            </p:cNvPr>
            <p:cNvSpPr/>
            <p:nvPr/>
          </p:nvSpPr>
          <p:spPr>
            <a:xfrm>
              <a:off x="5895995" y="3067027"/>
              <a:ext cx="73484" cy="12767"/>
            </a:xfrm>
            <a:custGeom>
              <a:avLst/>
              <a:gdLst>
                <a:gd name="connsiteX0" fmla="*/ 67094 w 73484"/>
                <a:gd name="connsiteY0" fmla="*/ 0 h 12767"/>
                <a:gd name="connsiteX1" fmla="*/ 6390 w 73484"/>
                <a:gd name="connsiteY1" fmla="*/ 0 h 12767"/>
                <a:gd name="connsiteX2" fmla="*/ 0 w 73484"/>
                <a:gd name="connsiteY2" fmla="*/ 6384 h 12767"/>
                <a:gd name="connsiteX3" fmla="*/ 6390 w 73484"/>
                <a:gd name="connsiteY3" fmla="*/ 12768 h 12767"/>
                <a:gd name="connsiteX4" fmla="*/ 67094 w 73484"/>
                <a:gd name="connsiteY4" fmla="*/ 12768 h 12767"/>
                <a:gd name="connsiteX5" fmla="*/ 73484 w 73484"/>
                <a:gd name="connsiteY5" fmla="*/ 6384 h 12767"/>
                <a:gd name="connsiteX6" fmla="*/ 67094 w 73484"/>
                <a:gd name="connsiteY6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84" h="12767">
                  <a:moveTo>
                    <a:pt x="67094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67094" y="12768"/>
                  </a:lnTo>
                  <a:cubicBezTo>
                    <a:pt x="70928" y="12768"/>
                    <a:pt x="73484" y="10214"/>
                    <a:pt x="73484" y="6384"/>
                  </a:cubicBezTo>
                  <a:cubicBezTo>
                    <a:pt x="73484" y="2554"/>
                    <a:pt x="70289" y="0"/>
                    <a:pt x="67094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85" name="Graphic 1100">
            <a:extLst>
              <a:ext uri="{FF2B5EF4-FFF2-40B4-BE49-F238E27FC236}">
                <a16:creationId xmlns:a16="http://schemas.microsoft.com/office/drawing/2014/main" id="{8B2D95D0-2807-6FB2-CCA5-2D8A579D1988}"/>
              </a:ext>
            </a:extLst>
          </p:cNvPr>
          <p:cNvGrpSpPr/>
          <p:nvPr/>
        </p:nvGrpSpPr>
        <p:grpSpPr>
          <a:xfrm>
            <a:off x="601115" y="2158406"/>
            <a:ext cx="468002" cy="468001"/>
            <a:chOff x="9280105" y="1406238"/>
            <a:chExt cx="362309" cy="362450"/>
          </a:xfrm>
          <a:solidFill>
            <a:srgbClr val="012169"/>
          </a:solidFill>
        </p:grpSpPr>
        <p:sp>
          <p:nvSpPr>
            <p:cNvPr id="86" name="Graphic 1100">
              <a:extLst>
                <a:ext uri="{FF2B5EF4-FFF2-40B4-BE49-F238E27FC236}">
                  <a16:creationId xmlns:a16="http://schemas.microsoft.com/office/drawing/2014/main" id="{45F3719E-AF01-347B-7FDA-35FEE6041924}"/>
                </a:ext>
              </a:extLst>
            </p:cNvPr>
            <p:cNvSpPr/>
            <p:nvPr/>
          </p:nvSpPr>
          <p:spPr>
            <a:xfrm>
              <a:off x="9478194" y="1497370"/>
              <a:ext cx="86902" cy="86822"/>
            </a:xfrm>
            <a:custGeom>
              <a:avLst/>
              <a:gdLst>
                <a:gd name="connsiteX0" fmla="*/ 86903 w 86902"/>
                <a:gd name="connsiteY0" fmla="*/ 86822 h 86822"/>
                <a:gd name="connsiteX1" fmla="*/ 81791 w 86902"/>
                <a:gd name="connsiteY1" fmla="*/ 67032 h 86822"/>
                <a:gd name="connsiteX2" fmla="*/ 15335 w 86902"/>
                <a:gd name="connsiteY2" fmla="*/ 0 h 86822"/>
                <a:gd name="connsiteX3" fmla="*/ 0 w 86902"/>
                <a:gd name="connsiteY3" fmla="*/ 15322 h 86822"/>
                <a:gd name="connsiteX4" fmla="*/ 66455 w 86902"/>
                <a:gd name="connsiteY4" fmla="*/ 81715 h 86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902" h="86822">
                  <a:moveTo>
                    <a:pt x="86903" y="86822"/>
                  </a:moveTo>
                  <a:lnTo>
                    <a:pt x="81791" y="67032"/>
                  </a:lnTo>
                  <a:lnTo>
                    <a:pt x="15335" y="0"/>
                  </a:lnTo>
                  <a:lnTo>
                    <a:pt x="0" y="15322"/>
                  </a:lnTo>
                  <a:lnTo>
                    <a:pt x="66455" y="8171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7" name="Graphic 1100">
              <a:extLst>
                <a:ext uri="{FF2B5EF4-FFF2-40B4-BE49-F238E27FC236}">
                  <a16:creationId xmlns:a16="http://schemas.microsoft.com/office/drawing/2014/main" id="{77B01BC4-B553-2346-1633-F9CDAED290EC}"/>
                </a:ext>
              </a:extLst>
            </p:cNvPr>
            <p:cNvSpPr/>
            <p:nvPr/>
          </p:nvSpPr>
          <p:spPr>
            <a:xfrm>
              <a:off x="9280105" y="1406238"/>
              <a:ext cx="362309" cy="362450"/>
            </a:xfrm>
            <a:custGeom>
              <a:avLst/>
              <a:gdLst>
                <a:gd name="connsiteX0" fmla="*/ 180835 w 362309"/>
                <a:gd name="connsiteY0" fmla="*/ 479 h 362450"/>
                <a:gd name="connsiteX1" fmla="*/ 0 w 362309"/>
                <a:gd name="connsiteY1" fmla="*/ 181784 h 362450"/>
                <a:gd name="connsiteX2" fmla="*/ 181474 w 362309"/>
                <a:gd name="connsiteY2" fmla="*/ 362451 h 362450"/>
                <a:gd name="connsiteX3" fmla="*/ 362309 w 362309"/>
                <a:gd name="connsiteY3" fmla="*/ 181145 h 362450"/>
                <a:gd name="connsiteX4" fmla="*/ 180835 w 362309"/>
                <a:gd name="connsiteY4" fmla="*/ 479 h 362450"/>
                <a:gd name="connsiteX5" fmla="*/ 180835 w 362309"/>
                <a:gd name="connsiteY5" fmla="*/ 479 h 362450"/>
                <a:gd name="connsiteX6" fmla="*/ 184669 w 362309"/>
                <a:gd name="connsiteY6" fmla="*/ 101984 h 362450"/>
                <a:gd name="connsiteX7" fmla="*/ 208951 w 362309"/>
                <a:gd name="connsiteY7" fmla="*/ 77725 h 362450"/>
                <a:gd name="connsiteX8" fmla="*/ 217897 w 362309"/>
                <a:gd name="connsiteY8" fmla="*/ 77725 h 362450"/>
                <a:gd name="connsiteX9" fmla="*/ 290103 w 362309"/>
                <a:gd name="connsiteY9" fmla="*/ 149864 h 362450"/>
                <a:gd name="connsiteX10" fmla="*/ 292020 w 362309"/>
                <a:gd name="connsiteY10" fmla="*/ 153056 h 362450"/>
                <a:gd name="connsiteX11" fmla="*/ 299687 w 362309"/>
                <a:gd name="connsiteY11" fmla="*/ 184976 h 362450"/>
                <a:gd name="connsiteX12" fmla="*/ 295215 w 362309"/>
                <a:gd name="connsiteY12" fmla="*/ 192637 h 362450"/>
                <a:gd name="connsiteX13" fmla="*/ 293298 w 362309"/>
                <a:gd name="connsiteY13" fmla="*/ 192637 h 362450"/>
                <a:gd name="connsiteX14" fmla="*/ 292020 w 362309"/>
                <a:gd name="connsiteY14" fmla="*/ 192637 h 362450"/>
                <a:gd name="connsiteX15" fmla="*/ 260070 w 362309"/>
                <a:gd name="connsiteY15" fmla="*/ 184337 h 362450"/>
                <a:gd name="connsiteX16" fmla="*/ 256875 w 362309"/>
                <a:gd name="connsiteY16" fmla="*/ 182422 h 362450"/>
                <a:gd name="connsiteX17" fmla="*/ 184669 w 362309"/>
                <a:gd name="connsiteY17" fmla="*/ 110283 h 362450"/>
                <a:gd name="connsiteX18" fmla="*/ 182752 w 362309"/>
                <a:gd name="connsiteY18" fmla="*/ 105815 h 362450"/>
                <a:gd name="connsiteX19" fmla="*/ 184669 w 362309"/>
                <a:gd name="connsiteY19" fmla="*/ 101984 h 362450"/>
                <a:gd name="connsiteX20" fmla="*/ 184669 w 362309"/>
                <a:gd name="connsiteY20" fmla="*/ 101984 h 362450"/>
                <a:gd name="connsiteX21" fmla="*/ 218536 w 362309"/>
                <a:gd name="connsiteY21" fmla="*/ 270521 h 362450"/>
                <a:gd name="connsiteX22" fmla="*/ 213423 w 362309"/>
                <a:gd name="connsiteY22" fmla="*/ 273713 h 362450"/>
                <a:gd name="connsiteX23" fmla="*/ 209589 w 362309"/>
                <a:gd name="connsiteY23" fmla="*/ 272437 h 362450"/>
                <a:gd name="connsiteX24" fmla="*/ 185947 w 362309"/>
                <a:gd name="connsiteY24" fmla="*/ 267329 h 362450"/>
                <a:gd name="connsiteX25" fmla="*/ 170611 w 362309"/>
                <a:gd name="connsiteY25" fmla="*/ 264776 h 362450"/>
                <a:gd name="connsiteX26" fmla="*/ 156553 w 362309"/>
                <a:gd name="connsiteY26" fmla="*/ 243709 h 362450"/>
                <a:gd name="connsiteX27" fmla="*/ 156553 w 362309"/>
                <a:gd name="connsiteY27" fmla="*/ 221365 h 362450"/>
                <a:gd name="connsiteX28" fmla="*/ 171250 w 362309"/>
                <a:gd name="connsiteY28" fmla="*/ 187529 h 362450"/>
                <a:gd name="connsiteX29" fmla="*/ 166777 w 362309"/>
                <a:gd name="connsiteY29" fmla="*/ 144757 h 362450"/>
                <a:gd name="connsiteX30" fmla="*/ 141217 w 362309"/>
                <a:gd name="connsiteY30" fmla="*/ 133266 h 362450"/>
                <a:gd name="connsiteX31" fmla="*/ 140579 w 362309"/>
                <a:gd name="connsiteY31" fmla="*/ 133266 h 362450"/>
                <a:gd name="connsiteX32" fmla="*/ 115019 w 362309"/>
                <a:gd name="connsiteY32" fmla="*/ 144757 h 362450"/>
                <a:gd name="connsiteX33" fmla="*/ 110545 w 362309"/>
                <a:gd name="connsiteY33" fmla="*/ 187529 h 362450"/>
                <a:gd name="connsiteX34" fmla="*/ 125243 w 362309"/>
                <a:gd name="connsiteY34" fmla="*/ 221365 h 362450"/>
                <a:gd name="connsiteX35" fmla="*/ 125243 w 362309"/>
                <a:gd name="connsiteY35" fmla="*/ 243709 h 362450"/>
                <a:gd name="connsiteX36" fmla="*/ 111184 w 362309"/>
                <a:gd name="connsiteY36" fmla="*/ 264776 h 362450"/>
                <a:gd name="connsiteX37" fmla="*/ 95849 w 362309"/>
                <a:gd name="connsiteY37" fmla="*/ 267329 h 362450"/>
                <a:gd name="connsiteX38" fmla="*/ 72206 w 362309"/>
                <a:gd name="connsiteY38" fmla="*/ 272437 h 362450"/>
                <a:gd name="connsiteX39" fmla="*/ 68372 w 362309"/>
                <a:gd name="connsiteY39" fmla="*/ 273713 h 362450"/>
                <a:gd name="connsiteX40" fmla="*/ 61982 w 362309"/>
                <a:gd name="connsiteY40" fmla="*/ 267329 h 362450"/>
                <a:gd name="connsiteX41" fmla="*/ 65177 w 362309"/>
                <a:gd name="connsiteY41" fmla="*/ 262222 h 362450"/>
                <a:gd name="connsiteX42" fmla="*/ 95209 w 362309"/>
                <a:gd name="connsiteY42" fmla="*/ 255200 h 362450"/>
                <a:gd name="connsiteX43" fmla="*/ 106712 w 362309"/>
                <a:gd name="connsiteY43" fmla="*/ 253923 h 362450"/>
                <a:gd name="connsiteX44" fmla="*/ 115019 w 362309"/>
                <a:gd name="connsiteY44" fmla="*/ 229025 h 362450"/>
                <a:gd name="connsiteX45" fmla="*/ 99044 w 362309"/>
                <a:gd name="connsiteY45" fmla="*/ 191360 h 362450"/>
                <a:gd name="connsiteX46" fmla="*/ 105434 w 362309"/>
                <a:gd name="connsiteY46" fmla="*/ 137734 h 362450"/>
                <a:gd name="connsiteX47" fmla="*/ 141217 w 362309"/>
                <a:gd name="connsiteY47" fmla="*/ 121774 h 362450"/>
                <a:gd name="connsiteX48" fmla="*/ 141217 w 362309"/>
                <a:gd name="connsiteY48" fmla="*/ 121774 h 362450"/>
                <a:gd name="connsiteX49" fmla="*/ 177001 w 362309"/>
                <a:gd name="connsiteY49" fmla="*/ 137734 h 362450"/>
                <a:gd name="connsiteX50" fmla="*/ 183391 w 362309"/>
                <a:gd name="connsiteY50" fmla="*/ 191360 h 362450"/>
                <a:gd name="connsiteX51" fmla="*/ 166777 w 362309"/>
                <a:gd name="connsiteY51" fmla="*/ 229664 h 362450"/>
                <a:gd name="connsiteX52" fmla="*/ 175084 w 362309"/>
                <a:gd name="connsiteY52" fmla="*/ 253923 h 362450"/>
                <a:gd name="connsiteX53" fmla="*/ 186586 w 362309"/>
                <a:gd name="connsiteY53" fmla="*/ 255200 h 362450"/>
                <a:gd name="connsiteX54" fmla="*/ 216618 w 362309"/>
                <a:gd name="connsiteY54" fmla="*/ 262222 h 362450"/>
                <a:gd name="connsiteX55" fmla="*/ 218536 w 362309"/>
                <a:gd name="connsiteY55" fmla="*/ 270521 h 362450"/>
                <a:gd name="connsiteX56" fmla="*/ 218536 w 362309"/>
                <a:gd name="connsiteY56" fmla="*/ 270521 h 362450"/>
                <a:gd name="connsiteX57" fmla="*/ 218536 w 362309"/>
                <a:gd name="connsiteY57" fmla="*/ 270521 h 362450"/>
                <a:gd name="connsiteX58" fmla="*/ 293298 w 362309"/>
                <a:gd name="connsiteY58" fmla="*/ 225195 h 362450"/>
                <a:gd name="connsiteX59" fmla="*/ 212784 w 362309"/>
                <a:gd name="connsiteY59" fmla="*/ 225195 h 362450"/>
                <a:gd name="connsiteX60" fmla="*/ 206395 w 362309"/>
                <a:gd name="connsiteY60" fmla="*/ 218811 h 362450"/>
                <a:gd name="connsiteX61" fmla="*/ 212784 w 362309"/>
                <a:gd name="connsiteY61" fmla="*/ 212427 h 362450"/>
                <a:gd name="connsiteX62" fmla="*/ 293298 w 362309"/>
                <a:gd name="connsiteY62" fmla="*/ 212427 h 362450"/>
                <a:gd name="connsiteX63" fmla="*/ 299687 w 362309"/>
                <a:gd name="connsiteY63" fmla="*/ 218811 h 362450"/>
                <a:gd name="connsiteX64" fmla="*/ 293298 w 362309"/>
                <a:gd name="connsiteY64" fmla="*/ 225195 h 36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362309" h="362450">
                  <a:moveTo>
                    <a:pt x="180835" y="479"/>
                  </a:moveTo>
                  <a:cubicBezTo>
                    <a:pt x="80513" y="479"/>
                    <a:pt x="0" y="81555"/>
                    <a:pt x="0" y="181784"/>
                  </a:cubicBezTo>
                  <a:cubicBezTo>
                    <a:pt x="0" y="282013"/>
                    <a:pt x="81152" y="362451"/>
                    <a:pt x="181474" y="362451"/>
                  </a:cubicBezTo>
                  <a:cubicBezTo>
                    <a:pt x="281157" y="362451"/>
                    <a:pt x="362309" y="281374"/>
                    <a:pt x="362309" y="181145"/>
                  </a:cubicBezTo>
                  <a:cubicBezTo>
                    <a:pt x="362309" y="80917"/>
                    <a:pt x="281157" y="-160"/>
                    <a:pt x="180835" y="479"/>
                  </a:cubicBezTo>
                  <a:cubicBezTo>
                    <a:pt x="180835" y="-160"/>
                    <a:pt x="180835" y="-160"/>
                    <a:pt x="180835" y="479"/>
                  </a:cubicBezTo>
                  <a:close/>
                  <a:moveTo>
                    <a:pt x="184669" y="101984"/>
                  </a:moveTo>
                  <a:lnTo>
                    <a:pt x="208951" y="77725"/>
                  </a:lnTo>
                  <a:cubicBezTo>
                    <a:pt x="211507" y="75171"/>
                    <a:pt x="215341" y="75171"/>
                    <a:pt x="217897" y="77725"/>
                  </a:cubicBezTo>
                  <a:lnTo>
                    <a:pt x="290103" y="149864"/>
                  </a:lnTo>
                  <a:cubicBezTo>
                    <a:pt x="290742" y="150502"/>
                    <a:pt x="291381" y="151779"/>
                    <a:pt x="292020" y="153056"/>
                  </a:cubicBezTo>
                  <a:lnTo>
                    <a:pt x="299687" y="184976"/>
                  </a:lnTo>
                  <a:cubicBezTo>
                    <a:pt x="300327" y="188168"/>
                    <a:pt x="298410" y="191998"/>
                    <a:pt x="295215" y="192637"/>
                  </a:cubicBezTo>
                  <a:cubicBezTo>
                    <a:pt x="294576" y="192637"/>
                    <a:pt x="293937" y="192637"/>
                    <a:pt x="293298" y="192637"/>
                  </a:cubicBezTo>
                  <a:cubicBezTo>
                    <a:pt x="292659" y="192637"/>
                    <a:pt x="292020" y="192637"/>
                    <a:pt x="292020" y="192637"/>
                  </a:cubicBezTo>
                  <a:lnTo>
                    <a:pt x="260070" y="184337"/>
                  </a:lnTo>
                  <a:cubicBezTo>
                    <a:pt x="258792" y="184337"/>
                    <a:pt x="258153" y="183699"/>
                    <a:pt x="256875" y="182422"/>
                  </a:cubicBezTo>
                  <a:lnTo>
                    <a:pt x="184669" y="110283"/>
                  </a:lnTo>
                  <a:cubicBezTo>
                    <a:pt x="183391" y="109007"/>
                    <a:pt x="182752" y="107730"/>
                    <a:pt x="182752" y="105815"/>
                  </a:cubicBezTo>
                  <a:cubicBezTo>
                    <a:pt x="182752" y="104538"/>
                    <a:pt x="183391" y="103261"/>
                    <a:pt x="184669" y="101984"/>
                  </a:cubicBezTo>
                  <a:lnTo>
                    <a:pt x="184669" y="101984"/>
                  </a:lnTo>
                  <a:close/>
                  <a:moveTo>
                    <a:pt x="218536" y="270521"/>
                  </a:moveTo>
                  <a:cubicBezTo>
                    <a:pt x="217258" y="272437"/>
                    <a:pt x="215341" y="273075"/>
                    <a:pt x="213423" y="273713"/>
                  </a:cubicBezTo>
                  <a:cubicBezTo>
                    <a:pt x="212146" y="273713"/>
                    <a:pt x="210868" y="273075"/>
                    <a:pt x="209589" y="272437"/>
                  </a:cubicBezTo>
                  <a:cubicBezTo>
                    <a:pt x="201922" y="268606"/>
                    <a:pt x="194253" y="267329"/>
                    <a:pt x="185947" y="267329"/>
                  </a:cubicBezTo>
                  <a:cubicBezTo>
                    <a:pt x="180835" y="267329"/>
                    <a:pt x="175723" y="266691"/>
                    <a:pt x="170611" y="264776"/>
                  </a:cubicBezTo>
                  <a:cubicBezTo>
                    <a:pt x="162943" y="261584"/>
                    <a:pt x="157831" y="250093"/>
                    <a:pt x="156553" y="243709"/>
                  </a:cubicBezTo>
                  <a:cubicBezTo>
                    <a:pt x="155275" y="237325"/>
                    <a:pt x="152080" y="227110"/>
                    <a:pt x="156553" y="221365"/>
                  </a:cubicBezTo>
                  <a:cubicBezTo>
                    <a:pt x="162943" y="211150"/>
                    <a:pt x="168055" y="199659"/>
                    <a:pt x="171250" y="187529"/>
                  </a:cubicBezTo>
                  <a:cubicBezTo>
                    <a:pt x="175723" y="168377"/>
                    <a:pt x="174445" y="153694"/>
                    <a:pt x="166777" y="144757"/>
                  </a:cubicBezTo>
                  <a:cubicBezTo>
                    <a:pt x="160387" y="137734"/>
                    <a:pt x="150802" y="133266"/>
                    <a:pt x="141217" y="133266"/>
                  </a:cubicBezTo>
                  <a:lnTo>
                    <a:pt x="140579" y="133266"/>
                  </a:lnTo>
                  <a:cubicBezTo>
                    <a:pt x="130994" y="133266"/>
                    <a:pt x="121409" y="137734"/>
                    <a:pt x="115019" y="144757"/>
                  </a:cubicBezTo>
                  <a:cubicBezTo>
                    <a:pt x="107350" y="153694"/>
                    <a:pt x="106073" y="168377"/>
                    <a:pt x="110545" y="187529"/>
                  </a:cubicBezTo>
                  <a:cubicBezTo>
                    <a:pt x="113740" y="199659"/>
                    <a:pt x="118214" y="211150"/>
                    <a:pt x="125243" y="221365"/>
                  </a:cubicBezTo>
                  <a:cubicBezTo>
                    <a:pt x="129715" y="227110"/>
                    <a:pt x="127159" y="237963"/>
                    <a:pt x="125243" y="243709"/>
                  </a:cubicBezTo>
                  <a:cubicBezTo>
                    <a:pt x="123325" y="249454"/>
                    <a:pt x="118853" y="261584"/>
                    <a:pt x="111184" y="264776"/>
                  </a:cubicBezTo>
                  <a:cubicBezTo>
                    <a:pt x="106073" y="266053"/>
                    <a:pt x="100961" y="267329"/>
                    <a:pt x="95849" y="267329"/>
                  </a:cubicBezTo>
                  <a:cubicBezTo>
                    <a:pt x="87542" y="267329"/>
                    <a:pt x="79235" y="268606"/>
                    <a:pt x="72206" y="272437"/>
                  </a:cubicBezTo>
                  <a:cubicBezTo>
                    <a:pt x="70928" y="273075"/>
                    <a:pt x="69650" y="273713"/>
                    <a:pt x="68372" y="273713"/>
                  </a:cubicBezTo>
                  <a:cubicBezTo>
                    <a:pt x="64538" y="273713"/>
                    <a:pt x="61982" y="271160"/>
                    <a:pt x="61982" y="267329"/>
                  </a:cubicBezTo>
                  <a:cubicBezTo>
                    <a:pt x="61982" y="265414"/>
                    <a:pt x="63260" y="262861"/>
                    <a:pt x="65177" y="262222"/>
                  </a:cubicBezTo>
                  <a:cubicBezTo>
                    <a:pt x="74123" y="257115"/>
                    <a:pt x="84986" y="254561"/>
                    <a:pt x="95209" y="255200"/>
                  </a:cubicBezTo>
                  <a:cubicBezTo>
                    <a:pt x="99044" y="255200"/>
                    <a:pt x="102878" y="254561"/>
                    <a:pt x="106712" y="253923"/>
                  </a:cubicBezTo>
                  <a:cubicBezTo>
                    <a:pt x="111184" y="252008"/>
                    <a:pt x="116297" y="233494"/>
                    <a:pt x="115019" y="229025"/>
                  </a:cubicBezTo>
                  <a:cubicBezTo>
                    <a:pt x="107350" y="217534"/>
                    <a:pt x="102239" y="204766"/>
                    <a:pt x="99044" y="191360"/>
                  </a:cubicBezTo>
                  <a:cubicBezTo>
                    <a:pt x="93293" y="168377"/>
                    <a:pt x="95849" y="149864"/>
                    <a:pt x="105434" y="137734"/>
                  </a:cubicBezTo>
                  <a:cubicBezTo>
                    <a:pt x="114379" y="127520"/>
                    <a:pt x="127159" y="121774"/>
                    <a:pt x="141217" y="121774"/>
                  </a:cubicBezTo>
                  <a:lnTo>
                    <a:pt x="141217" y="121774"/>
                  </a:lnTo>
                  <a:cubicBezTo>
                    <a:pt x="154636" y="121774"/>
                    <a:pt x="168055" y="127520"/>
                    <a:pt x="177001" y="137734"/>
                  </a:cubicBezTo>
                  <a:cubicBezTo>
                    <a:pt x="187225" y="149864"/>
                    <a:pt x="189142" y="168377"/>
                    <a:pt x="183391" y="191360"/>
                  </a:cubicBezTo>
                  <a:cubicBezTo>
                    <a:pt x="180196" y="204766"/>
                    <a:pt x="174445" y="218173"/>
                    <a:pt x="166777" y="229664"/>
                  </a:cubicBezTo>
                  <a:cubicBezTo>
                    <a:pt x="165499" y="233494"/>
                    <a:pt x="171250" y="252008"/>
                    <a:pt x="175084" y="253923"/>
                  </a:cubicBezTo>
                  <a:cubicBezTo>
                    <a:pt x="178918" y="254561"/>
                    <a:pt x="182752" y="255200"/>
                    <a:pt x="186586" y="255200"/>
                  </a:cubicBezTo>
                  <a:cubicBezTo>
                    <a:pt x="196810" y="255200"/>
                    <a:pt x="207673" y="257753"/>
                    <a:pt x="216618" y="262222"/>
                  </a:cubicBezTo>
                  <a:cubicBezTo>
                    <a:pt x="219174" y="263499"/>
                    <a:pt x="219813" y="267329"/>
                    <a:pt x="218536" y="270521"/>
                  </a:cubicBezTo>
                  <a:cubicBezTo>
                    <a:pt x="218536" y="270521"/>
                    <a:pt x="218536" y="270521"/>
                    <a:pt x="218536" y="270521"/>
                  </a:cubicBezTo>
                  <a:lnTo>
                    <a:pt x="218536" y="270521"/>
                  </a:lnTo>
                  <a:close/>
                  <a:moveTo>
                    <a:pt x="293298" y="225195"/>
                  </a:moveTo>
                  <a:lnTo>
                    <a:pt x="212784" y="225195"/>
                  </a:lnTo>
                  <a:cubicBezTo>
                    <a:pt x="208951" y="225195"/>
                    <a:pt x="206395" y="222641"/>
                    <a:pt x="206395" y="218811"/>
                  </a:cubicBezTo>
                  <a:cubicBezTo>
                    <a:pt x="206395" y="214981"/>
                    <a:pt x="208951" y="212427"/>
                    <a:pt x="212784" y="212427"/>
                  </a:cubicBezTo>
                  <a:lnTo>
                    <a:pt x="293298" y="212427"/>
                  </a:lnTo>
                  <a:cubicBezTo>
                    <a:pt x="297132" y="212427"/>
                    <a:pt x="299687" y="214981"/>
                    <a:pt x="299687" y="218811"/>
                  </a:cubicBezTo>
                  <a:cubicBezTo>
                    <a:pt x="299687" y="222641"/>
                    <a:pt x="297132" y="225195"/>
                    <a:pt x="293298" y="22519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9287E1A9-A199-09FE-A360-C0366DEF3FAE}"/>
              </a:ext>
            </a:extLst>
          </p:cNvPr>
          <p:cNvSpPr txBox="1"/>
          <p:nvPr/>
        </p:nvSpPr>
        <p:spPr>
          <a:xfrm>
            <a:off x="6902881" y="2304233"/>
            <a:ext cx="4896000" cy="90024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0" algn="just">
              <a:buFont typeface="Wingdings" panose="05000000000000000000" pitchFamily="2" charset="2"/>
              <a:buNone/>
              <a:defRPr sz="1200">
                <a:solidFill>
                  <a:srgbClr val="012169"/>
                </a:solidFill>
                <a:latin typeface="Trebuchet MS" panose="020B0603020202020204" pitchFamily="34" charset="0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>
              <a:lnSpc>
                <a:spcPct val="150000"/>
              </a:lnSpc>
            </a:pPr>
            <a:r>
              <a:rPr lang="es-ES" sz="1050" b="1" dirty="0"/>
              <a:t>VALIDACIÓN Y CONSISTENCIA DE LA INFORMACIÓN</a:t>
            </a:r>
            <a:endParaRPr lang="en-GB" sz="1050" b="1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1050" dirty="0"/>
              <a:t>Verificación de formato (email y teléfono)</a:t>
            </a:r>
            <a:endParaRPr lang="en-GB" sz="10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50" dirty="0"/>
              <a:t>Control de integridad de datos antes de avanzar</a:t>
            </a:r>
            <a:endParaRPr lang="en-GB" sz="10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50" dirty="0"/>
              <a:t>Prevención de inconsistencias que afecten a fases posteriores</a:t>
            </a:r>
            <a:endParaRPr lang="en-GB" sz="1050" dirty="0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A67BD72-532A-3D57-7AA0-4600D10C9FA9}"/>
              </a:ext>
            </a:extLst>
          </p:cNvPr>
          <p:cNvSpPr txBox="1"/>
          <p:nvPr/>
        </p:nvSpPr>
        <p:spPr>
          <a:xfrm>
            <a:off x="6902882" y="3466036"/>
            <a:ext cx="4980590" cy="122341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0" algn="just">
              <a:buFont typeface="Wingdings" panose="05000000000000000000" pitchFamily="2" charset="2"/>
              <a:buNone/>
              <a:defRPr sz="1200">
                <a:solidFill>
                  <a:srgbClr val="012169"/>
                </a:solidFill>
                <a:latin typeface="Trebuchet MS" panose="020B0603020202020204" pitchFamily="34" charset="0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algn="l">
              <a:lnSpc>
                <a:spcPct val="150000"/>
              </a:lnSpc>
            </a:pPr>
            <a:r>
              <a:rPr lang="es-ES" sz="1050" b="1" dirty="0"/>
              <a:t>ACTIVACIÓN DEL CANAL DE COMUNICACIÓN</a:t>
            </a:r>
          </a:p>
          <a:p>
            <a:pPr marL="17145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1050" dirty="0"/>
              <a:t>Definición del correo electrónico como canal principal de contacto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1050" dirty="0"/>
              <a:t>Envío de enlace de verificación como primer mecanismo de validación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1050" dirty="0"/>
              <a:t>Uso posterior del contacto para: </a:t>
            </a:r>
          </a:p>
          <a:p>
            <a:pPr marL="216000" lvl="2">
              <a:spcAft>
                <a:spcPts val="0"/>
              </a:spcAft>
            </a:pPr>
            <a:r>
              <a:rPr lang="es-ES" sz="1050" dirty="0">
                <a:solidFill>
                  <a:srgbClr val="012169"/>
                </a:solidFill>
              </a:rPr>
              <a:t>Notificaciones del estado del proceso</a:t>
            </a:r>
          </a:p>
          <a:p>
            <a:pPr marL="216000" lvl="2">
              <a:spcAft>
                <a:spcPts val="0"/>
              </a:spcAft>
            </a:pPr>
            <a:r>
              <a:rPr lang="es-ES" sz="1050" dirty="0">
                <a:solidFill>
                  <a:srgbClr val="012169"/>
                </a:solidFill>
              </a:rPr>
              <a:t>Envío de resultados y comunicacione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7F92FAA-685D-4E6F-E909-2DC207F0ABBD}"/>
              </a:ext>
            </a:extLst>
          </p:cNvPr>
          <p:cNvSpPr txBox="1"/>
          <p:nvPr/>
        </p:nvSpPr>
        <p:spPr>
          <a:xfrm>
            <a:off x="6892221" y="4939325"/>
            <a:ext cx="4348783" cy="106182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0" algn="just">
              <a:buFont typeface="Wingdings" panose="05000000000000000000" pitchFamily="2" charset="2"/>
              <a:buNone/>
              <a:defRPr sz="1200">
                <a:solidFill>
                  <a:srgbClr val="012169"/>
                </a:solidFill>
                <a:latin typeface="Trebuchet MS" panose="020B0603020202020204" pitchFamily="34" charset="0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>
              <a:lnSpc>
                <a:spcPct val="150000"/>
              </a:lnSpc>
            </a:pPr>
            <a:r>
              <a:rPr lang="es-ES" sz="1050" b="1" dirty="0"/>
              <a:t>BASE PARA LA IDENTIFICACIÓN POSTERIOR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1050" dirty="0"/>
              <a:t>Punto de partida para la validación de identid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50" dirty="0"/>
              <a:t>Vinculación del usuario con el expediente de solicitu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50" dirty="0"/>
              <a:t>Preparación para siguientes fases (verificación email, identificación documental y biométrica)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9B3A6554-6E7A-079E-B8BE-C16ECE922327}"/>
              </a:ext>
            </a:extLst>
          </p:cNvPr>
          <p:cNvCxnSpPr>
            <a:cxnSpLocks/>
          </p:cNvCxnSpPr>
          <p:nvPr/>
        </p:nvCxnSpPr>
        <p:spPr>
          <a:xfrm>
            <a:off x="6581775" y="3351736"/>
            <a:ext cx="4810125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40963AD4-1A36-90ED-C293-A03B74AF9864}"/>
              </a:ext>
            </a:extLst>
          </p:cNvPr>
          <p:cNvCxnSpPr>
            <a:cxnSpLocks/>
          </p:cNvCxnSpPr>
          <p:nvPr/>
        </p:nvCxnSpPr>
        <p:spPr>
          <a:xfrm>
            <a:off x="6581775" y="4823961"/>
            <a:ext cx="4810125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aphic 4">
            <a:extLst>
              <a:ext uri="{FF2B5EF4-FFF2-40B4-BE49-F238E27FC236}">
                <a16:creationId xmlns:a16="http://schemas.microsoft.com/office/drawing/2014/main" id="{776D9D0A-811D-4E56-BE96-6FB6A8E81FF7}"/>
              </a:ext>
            </a:extLst>
          </p:cNvPr>
          <p:cNvGrpSpPr>
            <a:grpSpLocks noChangeAspect="1"/>
          </p:cNvGrpSpPr>
          <p:nvPr/>
        </p:nvGrpSpPr>
        <p:grpSpPr>
          <a:xfrm>
            <a:off x="6522582" y="2344425"/>
            <a:ext cx="333815" cy="333500"/>
            <a:chOff x="2559808" y="2855717"/>
            <a:chExt cx="362313" cy="361971"/>
          </a:xfrm>
          <a:solidFill>
            <a:srgbClr val="012169"/>
          </a:solidFill>
        </p:grpSpPr>
        <p:sp>
          <p:nvSpPr>
            <p:cNvPr id="6" name="Graphic 4">
              <a:extLst>
                <a:ext uri="{FF2B5EF4-FFF2-40B4-BE49-F238E27FC236}">
                  <a16:creationId xmlns:a16="http://schemas.microsoft.com/office/drawing/2014/main" id="{68A1D760-158B-2918-F0C6-B6F90E20CF8B}"/>
                </a:ext>
              </a:extLst>
            </p:cNvPr>
            <p:cNvSpPr/>
            <p:nvPr/>
          </p:nvSpPr>
          <p:spPr>
            <a:xfrm>
              <a:off x="2559808" y="2855717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09 w 362313"/>
                <a:gd name="connsiteY3" fmla="*/ 181305 h 361971"/>
                <a:gd name="connsiteX4" fmla="*/ 362309 w 362313"/>
                <a:gd name="connsiteY4" fmla="*/ 181305 h 361971"/>
                <a:gd name="connsiteX5" fmla="*/ 181474 w 362313"/>
                <a:gd name="connsiteY5" fmla="*/ 0 h 361971"/>
                <a:gd name="connsiteX6" fmla="*/ 181474 w 362313"/>
                <a:gd name="connsiteY6" fmla="*/ 349204 h 361971"/>
                <a:gd name="connsiteX7" fmla="*/ 12780 w 362313"/>
                <a:gd name="connsiteY7" fmla="*/ 181305 h 361971"/>
                <a:gd name="connsiteX8" fmla="*/ 180835 w 362313"/>
                <a:gd name="connsiteY8" fmla="*/ 12768 h 361971"/>
                <a:gd name="connsiteX9" fmla="*/ 349529 w 362313"/>
                <a:gd name="connsiteY9" fmla="*/ 180667 h 361971"/>
                <a:gd name="connsiteX10" fmla="*/ 349529 w 362313"/>
                <a:gd name="connsiteY10" fmla="*/ 180667 h 361971"/>
                <a:gd name="connsiteX11" fmla="*/ 181474 w 362313"/>
                <a:gd name="connsiteY11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6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948" y="81076"/>
                    <a:pt x="281796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099"/>
                    <a:pt x="88181" y="12768"/>
                    <a:pt x="180835" y="12768"/>
                  </a:cubicBezTo>
                  <a:cubicBezTo>
                    <a:pt x="274128" y="12768"/>
                    <a:pt x="349529" y="88099"/>
                    <a:pt x="349529" y="180667"/>
                  </a:cubicBezTo>
                  <a:cubicBezTo>
                    <a:pt x="349529" y="180667"/>
                    <a:pt x="349529" y="180667"/>
                    <a:pt x="349529" y="180667"/>
                  </a:cubicBezTo>
                  <a:cubicBezTo>
                    <a:pt x="350168" y="273234"/>
                    <a:pt x="274767" y="348565"/>
                    <a:pt x="181474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7" name="Graphic 4">
              <a:extLst>
                <a:ext uri="{FF2B5EF4-FFF2-40B4-BE49-F238E27FC236}">
                  <a16:creationId xmlns:a16="http://schemas.microsoft.com/office/drawing/2014/main" id="{4254F353-456C-4E6A-A2D9-E5C85F038B57}"/>
                </a:ext>
              </a:extLst>
            </p:cNvPr>
            <p:cNvSpPr/>
            <p:nvPr/>
          </p:nvSpPr>
          <p:spPr>
            <a:xfrm>
              <a:off x="2642878" y="2955307"/>
              <a:ext cx="197798" cy="162153"/>
            </a:xfrm>
            <a:custGeom>
              <a:avLst/>
              <a:gdLst>
                <a:gd name="connsiteX0" fmla="*/ 187225 w 197798"/>
                <a:gd name="connsiteY0" fmla="*/ 15960 h 162153"/>
                <a:gd name="connsiteX1" fmla="*/ 162304 w 197798"/>
                <a:gd name="connsiteY1" fmla="*/ 37666 h 162153"/>
                <a:gd name="connsiteX2" fmla="*/ 162304 w 197798"/>
                <a:gd name="connsiteY2" fmla="*/ 6384 h 162153"/>
                <a:gd name="connsiteX3" fmla="*/ 155914 w 197798"/>
                <a:gd name="connsiteY3" fmla="*/ 0 h 162153"/>
                <a:gd name="connsiteX4" fmla="*/ 6390 w 197798"/>
                <a:gd name="connsiteY4" fmla="*/ 0 h 162153"/>
                <a:gd name="connsiteX5" fmla="*/ 0 w 197798"/>
                <a:gd name="connsiteY5" fmla="*/ 6384 h 162153"/>
                <a:gd name="connsiteX6" fmla="*/ 0 w 197798"/>
                <a:gd name="connsiteY6" fmla="*/ 155769 h 162153"/>
                <a:gd name="connsiteX7" fmla="*/ 6390 w 197798"/>
                <a:gd name="connsiteY7" fmla="*/ 162153 h 162153"/>
                <a:gd name="connsiteX8" fmla="*/ 155914 w 197798"/>
                <a:gd name="connsiteY8" fmla="*/ 162153 h 162153"/>
                <a:gd name="connsiteX9" fmla="*/ 162304 w 197798"/>
                <a:gd name="connsiteY9" fmla="*/ 155769 h 162153"/>
                <a:gd name="connsiteX10" fmla="*/ 162304 w 197798"/>
                <a:gd name="connsiteY10" fmla="*/ 54264 h 162153"/>
                <a:gd name="connsiteX11" fmla="*/ 195532 w 197798"/>
                <a:gd name="connsiteY11" fmla="*/ 24898 h 162153"/>
                <a:gd name="connsiteX12" fmla="*/ 196171 w 197798"/>
                <a:gd name="connsiteY12" fmla="*/ 15960 h 162153"/>
                <a:gd name="connsiteX13" fmla="*/ 196171 w 197798"/>
                <a:gd name="connsiteY13" fmla="*/ 15960 h 162153"/>
                <a:gd name="connsiteX14" fmla="*/ 187225 w 197798"/>
                <a:gd name="connsiteY14" fmla="*/ 15960 h 162153"/>
                <a:gd name="connsiteX15" fmla="*/ 187225 w 197798"/>
                <a:gd name="connsiteY15" fmla="*/ 15960 h 162153"/>
                <a:gd name="connsiteX16" fmla="*/ 149524 w 197798"/>
                <a:gd name="connsiteY16" fmla="*/ 149385 h 162153"/>
                <a:gd name="connsiteX17" fmla="*/ 12780 w 197798"/>
                <a:gd name="connsiteY17" fmla="*/ 149385 h 162153"/>
                <a:gd name="connsiteX18" fmla="*/ 12780 w 197798"/>
                <a:gd name="connsiteY18" fmla="*/ 12768 h 162153"/>
                <a:gd name="connsiteX19" fmla="*/ 149524 w 197798"/>
                <a:gd name="connsiteY19" fmla="*/ 12768 h 162153"/>
                <a:gd name="connsiteX20" fmla="*/ 149524 w 197798"/>
                <a:gd name="connsiteY20" fmla="*/ 49157 h 162153"/>
                <a:gd name="connsiteX21" fmla="*/ 78596 w 197798"/>
                <a:gd name="connsiteY21" fmla="*/ 111720 h 162153"/>
                <a:gd name="connsiteX22" fmla="*/ 47285 w 197798"/>
                <a:gd name="connsiteY22" fmla="*/ 74054 h 162153"/>
                <a:gd name="connsiteX23" fmla="*/ 38340 w 197798"/>
                <a:gd name="connsiteY23" fmla="*/ 73416 h 162153"/>
                <a:gd name="connsiteX24" fmla="*/ 37701 w 197798"/>
                <a:gd name="connsiteY24" fmla="*/ 82354 h 162153"/>
                <a:gd name="connsiteX25" fmla="*/ 73484 w 197798"/>
                <a:gd name="connsiteY25" fmla="*/ 125126 h 162153"/>
                <a:gd name="connsiteX26" fmla="*/ 73484 w 197798"/>
                <a:gd name="connsiteY26" fmla="*/ 125126 h 162153"/>
                <a:gd name="connsiteX27" fmla="*/ 74762 w 197798"/>
                <a:gd name="connsiteY27" fmla="*/ 126403 h 162153"/>
                <a:gd name="connsiteX28" fmla="*/ 75401 w 197798"/>
                <a:gd name="connsiteY28" fmla="*/ 127041 h 162153"/>
                <a:gd name="connsiteX29" fmla="*/ 77957 w 197798"/>
                <a:gd name="connsiteY29" fmla="*/ 127680 h 162153"/>
                <a:gd name="connsiteX30" fmla="*/ 77957 w 197798"/>
                <a:gd name="connsiteY30" fmla="*/ 127680 h 162153"/>
                <a:gd name="connsiteX31" fmla="*/ 79874 w 197798"/>
                <a:gd name="connsiteY31" fmla="*/ 127041 h 162153"/>
                <a:gd name="connsiteX32" fmla="*/ 80513 w 197798"/>
                <a:gd name="connsiteY32" fmla="*/ 126403 h 162153"/>
                <a:gd name="connsiteX33" fmla="*/ 81791 w 197798"/>
                <a:gd name="connsiteY33" fmla="*/ 125765 h 162153"/>
                <a:gd name="connsiteX34" fmla="*/ 81791 w 197798"/>
                <a:gd name="connsiteY34" fmla="*/ 125765 h 162153"/>
                <a:gd name="connsiteX35" fmla="*/ 149524 w 197798"/>
                <a:gd name="connsiteY35" fmla="*/ 66394 h 162153"/>
                <a:gd name="connsiteX36" fmla="*/ 149524 w 197798"/>
                <a:gd name="connsiteY36" fmla="*/ 149385 h 162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97798" h="162153">
                  <a:moveTo>
                    <a:pt x="187225" y="15960"/>
                  </a:moveTo>
                  <a:lnTo>
                    <a:pt x="162304" y="37666"/>
                  </a:lnTo>
                  <a:lnTo>
                    <a:pt x="162304" y="6384"/>
                  </a:lnTo>
                  <a:cubicBezTo>
                    <a:pt x="162304" y="2554"/>
                    <a:pt x="159748" y="0"/>
                    <a:pt x="155914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155769"/>
                  </a:lnTo>
                  <a:cubicBezTo>
                    <a:pt x="0" y="159600"/>
                    <a:pt x="2556" y="162153"/>
                    <a:pt x="6390" y="162153"/>
                  </a:cubicBezTo>
                  <a:lnTo>
                    <a:pt x="155914" y="162153"/>
                  </a:lnTo>
                  <a:cubicBezTo>
                    <a:pt x="159748" y="162153"/>
                    <a:pt x="162304" y="159600"/>
                    <a:pt x="162304" y="155769"/>
                  </a:cubicBezTo>
                  <a:lnTo>
                    <a:pt x="162304" y="54264"/>
                  </a:lnTo>
                  <a:lnTo>
                    <a:pt x="195532" y="24898"/>
                  </a:lnTo>
                  <a:cubicBezTo>
                    <a:pt x="198088" y="22344"/>
                    <a:pt x="198727" y="18514"/>
                    <a:pt x="196171" y="15960"/>
                  </a:cubicBezTo>
                  <a:cubicBezTo>
                    <a:pt x="196171" y="15960"/>
                    <a:pt x="196171" y="15960"/>
                    <a:pt x="196171" y="15960"/>
                  </a:cubicBezTo>
                  <a:cubicBezTo>
                    <a:pt x="194254" y="13406"/>
                    <a:pt x="189781" y="13406"/>
                    <a:pt x="187225" y="15960"/>
                  </a:cubicBezTo>
                  <a:cubicBezTo>
                    <a:pt x="187225" y="15960"/>
                    <a:pt x="187225" y="15960"/>
                    <a:pt x="187225" y="15960"/>
                  </a:cubicBezTo>
                  <a:close/>
                  <a:moveTo>
                    <a:pt x="149524" y="149385"/>
                  </a:moveTo>
                  <a:lnTo>
                    <a:pt x="12780" y="149385"/>
                  </a:lnTo>
                  <a:lnTo>
                    <a:pt x="12780" y="12768"/>
                  </a:lnTo>
                  <a:lnTo>
                    <a:pt x="149524" y="12768"/>
                  </a:lnTo>
                  <a:lnTo>
                    <a:pt x="149524" y="49157"/>
                  </a:lnTo>
                  <a:lnTo>
                    <a:pt x="78596" y="111720"/>
                  </a:lnTo>
                  <a:lnTo>
                    <a:pt x="47285" y="74054"/>
                  </a:lnTo>
                  <a:cubicBezTo>
                    <a:pt x="44730" y="71501"/>
                    <a:pt x="40896" y="70862"/>
                    <a:pt x="38340" y="73416"/>
                  </a:cubicBezTo>
                  <a:cubicBezTo>
                    <a:pt x="35784" y="75970"/>
                    <a:pt x="35145" y="79800"/>
                    <a:pt x="37701" y="82354"/>
                  </a:cubicBezTo>
                  <a:lnTo>
                    <a:pt x="73484" y="125126"/>
                  </a:lnTo>
                  <a:lnTo>
                    <a:pt x="73484" y="125126"/>
                  </a:lnTo>
                  <a:cubicBezTo>
                    <a:pt x="74123" y="125765"/>
                    <a:pt x="74123" y="125765"/>
                    <a:pt x="74762" y="126403"/>
                  </a:cubicBezTo>
                  <a:lnTo>
                    <a:pt x="75401" y="127041"/>
                  </a:lnTo>
                  <a:cubicBezTo>
                    <a:pt x="76040" y="127680"/>
                    <a:pt x="77318" y="127680"/>
                    <a:pt x="77957" y="127680"/>
                  </a:cubicBezTo>
                  <a:lnTo>
                    <a:pt x="77957" y="127680"/>
                  </a:lnTo>
                  <a:cubicBezTo>
                    <a:pt x="78596" y="127680"/>
                    <a:pt x="79235" y="127680"/>
                    <a:pt x="79874" y="127041"/>
                  </a:cubicBezTo>
                  <a:lnTo>
                    <a:pt x="80513" y="126403"/>
                  </a:lnTo>
                  <a:cubicBezTo>
                    <a:pt x="81152" y="126403"/>
                    <a:pt x="81152" y="125765"/>
                    <a:pt x="81791" y="125765"/>
                  </a:cubicBezTo>
                  <a:lnTo>
                    <a:pt x="81791" y="125765"/>
                  </a:lnTo>
                  <a:lnTo>
                    <a:pt x="149524" y="66394"/>
                  </a:lnTo>
                  <a:lnTo>
                    <a:pt x="149524" y="14938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</p:grpSp>
      <p:grpSp>
        <p:nvGrpSpPr>
          <p:cNvPr id="9" name="Graphic 4">
            <a:extLst>
              <a:ext uri="{FF2B5EF4-FFF2-40B4-BE49-F238E27FC236}">
                <a16:creationId xmlns:a16="http://schemas.microsoft.com/office/drawing/2014/main" id="{E51B76CC-4B10-65B1-E214-6F9D2DC1BBB2}"/>
              </a:ext>
            </a:extLst>
          </p:cNvPr>
          <p:cNvGrpSpPr>
            <a:grpSpLocks noChangeAspect="1"/>
          </p:cNvGrpSpPr>
          <p:nvPr/>
        </p:nvGrpSpPr>
        <p:grpSpPr>
          <a:xfrm>
            <a:off x="6522584" y="3491414"/>
            <a:ext cx="333811" cy="333500"/>
            <a:chOff x="1515054" y="3824168"/>
            <a:chExt cx="361670" cy="361333"/>
          </a:xfrm>
          <a:solidFill>
            <a:srgbClr val="012169"/>
          </a:solidFill>
        </p:grpSpPr>
        <p:sp>
          <p:nvSpPr>
            <p:cNvPr id="10" name="Graphic 4">
              <a:extLst>
                <a:ext uri="{FF2B5EF4-FFF2-40B4-BE49-F238E27FC236}">
                  <a16:creationId xmlns:a16="http://schemas.microsoft.com/office/drawing/2014/main" id="{408EA7E2-16C7-C927-F4C1-1B435123FA33}"/>
                </a:ext>
              </a:extLst>
            </p:cNvPr>
            <p:cNvSpPr/>
            <p:nvPr/>
          </p:nvSpPr>
          <p:spPr>
            <a:xfrm>
              <a:off x="1515054" y="3824168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3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180835 w 361670"/>
                <a:gd name="connsiteY5" fmla="*/ 349204 h 361333"/>
                <a:gd name="connsiteX6" fmla="*/ 12780 w 361670"/>
                <a:gd name="connsiteY6" fmla="*/ 181305 h 361333"/>
                <a:gd name="connsiteX7" fmla="*/ 180835 w 361670"/>
                <a:gd name="connsiteY7" fmla="*/ 13406 h 361333"/>
                <a:gd name="connsiteX8" fmla="*/ 348891 w 361670"/>
                <a:gd name="connsiteY8" fmla="*/ 181305 h 361333"/>
                <a:gd name="connsiteX9" fmla="*/ 180835 w 361670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895"/>
                    <a:pt x="81152" y="361333"/>
                    <a:pt x="180835" y="361333"/>
                  </a:cubicBezTo>
                  <a:cubicBezTo>
                    <a:pt x="280518" y="361333"/>
                    <a:pt x="361670" y="280257"/>
                    <a:pt x="361670" y="180667"/>
                  </a:cubicBezTo>
                  <a:cubicBezTo>
                    <a:pt x="361670" y="81076"/>
                    <a:pt x="280518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3406"/>
                    <a:pt x="180835" y="13406"/>
                  </a:cubicBezTo>
                  <a:cubicBezTo>
                    <a:pt x="273489" y="13406"/>
                    <a:pt x="348891" y="88737"/>
                    <a:pt x="348891" y="181305"/>
                  </a:cubicBezTo>
                  <a:cubicBezTo>
                    <a:pt x="348891" y="273873"/>
                    <a:pt x="273489" y="349204"/>
                    <a:pt x="180835" y="349204"/>
                  </a:cubicBezTo>
                  <a:close/>
                </a:path>
              </a:pathLst>
            </a:custGeom>
            <a:solidFill>
              <a:srgbClr val="012169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11" name="Graphic 4">
              <a:extLst>
                <a:ext uri="{FF2B5EF4-FFF2-40B4-BE49-F238E27FC236}">
                  <a16:creationId xmlns:a16="http://schemas.microsoft.com/office/drawing/2014/main" id="{2911E17F-6841-0318-3D0E-B47D172D2F92}"/>
                </a:ext>
              </a:extLst>
            </p:cNvPr>
            <p:cNvSpPr/>
            <p:nvPr/>
          </p:nvSpPr>
          <p:spPr>
            <a:xfrm>
              <a:off x="1658827" y="3995258"/>
              <a:ext cx="12779" cy="12768"/>
            </a:xfrm>
            <a:custGeom>
              <a:avLst/>
              <a:gdLst>
                <a:gd name="connsiteX0" fmla="*/ 1917 w 12779"/>
                <a:gd name="connsiteY0" fmla="*/ 10853 h 12768"/>
                <a:gd name="connsiteX1" fmla="*/ 3834 w 12779"/>
                <a:gd name="connsiteY1" fmla="*/ 12130 h 12768"/>
                <a:gd name="connsiteX2" fmla="*/ 6390 w 12779"/>
                <a:gd name="connsiteY2" fmla="*/ 12768 h 12768"/>
                <a:gd name="connsiteX3" fmla="*/ 8946 w 12779"/>
                <a:gd name="connsiteY3" fmla="*/ 12130 h 12768"/>
                <a:gd name="connsiteX4" fmla="*/ 10863 w 12779"/>
                <a:gd name="connsiteY4" fmla="*/ 10853 h 12768"/>
                <a:gd name="connsiteX5" fmla="*/ 12780 w 12779"/>
                <a:gd name="connsiteY5" fmla="*/ 6384 h 12768"/>
                <a:gd name="connsiteX6" fmla="*/ 12141 w 12779"/>
                <a:gd name="connsiteY6" fmla="*/ 3830 h 12768"/>
                <a:gd name="connsiteX7" fmla="*/ 10863 w 12779"/>
                <a:gd name="connsiteY7" fmla="*/ 1915 h 12768"/>
                <a:gd name="connsiteX8" fmla="*/ 1917 w 12779"/>
                <a:gd name="connsiteY8" fmla="*/ 1915 h 12768"/>
                <a:gd name="connsiteX9" fmla="*/ 639 w 12779"/>
                <a:gd name="connsiteY9" fmla="*/ 3830 h 12768"/>
                <a:gd name="connsiteX10" fmla="*/ 0 w 12779"/>
                <a:gd name="connsiteY10" fmla="*/ 6384 h 12768"/>
                <a:gd name="connsiteX11" fmla="*/ 639 w 12779"/>
                <a:gd name="connsiteY11" fmla="*/ 8938 h 12768"/>
                <a:gd name="connsiteX12" fmla="*/ 1917 w 12779"/>
                <a:gd name="connsiteY12" fmla="*/ 10853 h 12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79" h="12768">
                  <a:moveTo>
                    <a:pt x="1917" y="10853"/>
                  </a:moveTo>
                  <a:cubicBezTo>
                    <a:pt x="2556" y="11491"/>
                    <a:pt x="3195" y="12130"/>
                    <a:pt x="3834" y="12130"/>
                  </a:cubicBezTo>
                  <a:cubicBezTo>
                    <a:pt x="4473" y="12768"/>
                    <a:pt x="5751" y="12768"/>
                    <a:pt x="6390" y="12768"/>
                  </a:cubicBezTo>
                  <a:cubicBezTo>
                    <a:pt x="7029" y="12768"/>
                    <a:pt x="8307" y="12768"/>
                    <a:pt x="8946" y="12130"/>
                  </a:cubicBezTo>
                  <a:cubicBezTo>
                    <a:pt x="9585" y="12130"/>
                    <a:pt x="10224" y="11491"/>
                    <a:pt x="10863" y="10853"/>
                  </a:cubicBezTo>
                  <a:cubicBezTo>
                    <a:pt x="12141" y="9576"/>
                    <a:pt x="12780" y="8299"/>
                    <a:pt x="12780" y="6384"/>
                  </a:cubicBezTo>
                  <a:cubicBezTo>
                    <a:pt x="12780" y="5746"/>
                    <a:pt x="12780" y="4469"/>
                    <a:pt x="12141" y="3830"/>
                  </a:cubicBezTo>
                  <a:cubicBezTo>
                    <a:pt x="12141" y="3192"/>
                    <a:pt x="11502" y="2554"/>
                    <a:pt x="10863" y="1915"/>
                  </a:cubicBezTo>
                  <a:cubicBezTo>
                    <a:pt x="8307" y="-638"/>
                    <a:pt x="4473" y="-638"/>
                    <a:pt x="1917" y="1915"/>
                  </a:cubicBezTo>
                  <a:cubicBezTo>
                    <a:pt x="1278" y="2554"/>
                    <a:pt x="639" y="3192"/>
                    <a:pt x="639" y="3830"/>
                  </a:cubicBezTo>
                  <a:cubicBezTo>
                    <a:pt x="639" y="4469"/>
                    <a:pt x="0" y="5107"/>
                    <a:pt x="0" y="6384"/>
                  </a:cubicBezTo>
                  <a:cubicBezTo>
                    <a:pt x="0" y="7022"/>
                    <a:pt x="0" y="8299"/>
                    <a:pt x="639" y="8938"/>
                  </a:cubicBezTo>
                  <a:cubicBezTo>
                    <a:pt x="1278" y="9576"/>
                    <a:pt x="1278" y="10214"/>
                    <a:pt x="1917" y="10853"/>
                  </a:cubicBezTo>
                  <a:close/>
                </a:path>
              </a:pathLst>
            </a:custGeom>
            <a:solidFill>
              <a:srgbClr val="012169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12" name="Graphic 4">
              <a:extLst>
                <a:ext uri="{FF2B5EF4-FFF2-40B4-BE49-F238E27FC236}">
                  <a16:creationId xmlns:a16="http://schemas.microsoft.com/office/drawing/2014/main" id="{9E97E1FC-1373-9818-9C7A-D9E77890EF11}"/>
                </a:ext>
              </a:extLst>
            </p:cNvPr>
            <p:cNvSpPr/>
            <p:nvPr/>
          </p:nvSpPr>
          <p:spPr>
            <a:xfrm>
              <a:off x="1689499" y="3995418"/>
              <a:ext cx="12779" cy="12608"/>
            </a:xfrm>
            <a:custGeom>
              <a:avLst/>
              <a:gdLst>
                <a:gd name="connsiteX0" fmla="*/ 3834 w 12779"/>
                <a:gd name="connsiteY0" fmla="*/ 11970 h 12608"/>
                <a:gd name="connsiteX1" fmla="*/ 6390 w 12779"/>
                <a:gd name="connsiteY1" fmla="*/ 12608 h 12608"/>
                <a:gd name="connsiteX2" fmla="*/ 8946 w 12779"/>
                <a:gd name="connsiteY2" fmla="*/ 11970 h 12608"/>
                <a:gd name="connsiteX3" fmla="*/ 10863 w 12779"/>
                <a:gd name="connsiteY3" fmla="*/ 10693 h 12608"/>
                <a:gd name="connsiteX4" fmla="*/ 12780 w 12779"/>
                <a:gd name="connsiteY4" fmla="*/ 6224 h 12608"/>
                <a:gd name="connsiteX5" fmla="*/ 10863 w 12779"/>
                <a:gd name="connsiteY5" fmla="*/ 1756 h 12608"/>
                <a:gd name="connsiteX6" fmla="*/ 8946 w 12779"/>
                <a:gd name="connsiteY6" fmla="*/ 479 h 12608"/>
                <a:gd name="connsiteX7" fmla="*/ 3834 w 12779"/>
                <a:gd name="connsiteY7" fmla="*/ 479 h 12608"/>
                <a:gd name="connsiteX8" fmla="*/ 1917 w 12779"/>
                <a:gd name="connsiteY8" fmla="*/ 1756 h 12608"/>
                <a:gd name="connsiteX9" fmla="*/ 0 w 12779"/>
                <a:gd name="connsiteY9" fmla="*/ 6224 h 12608"/>
                <a:gd name="connsiteX10" fmla="*/ 1917 w 12779"/>
                <a:gd name="connsiteY10" fmla="*/ 10693 h 12608"/>
                <a:gd name="connsiteX11" fmla="*/ 3834 w 12779"/>
                <a:gd name="connsiteY11" fmla="*/ 11970 h 12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779" h="12608">
                  <a:moveTo>
                    <a:pt x="3834" y="11970"/>
                  </a:moveTo>
                  <a:cubicBezTo>
                    <a:pt x="4473" y="11970"/>
                    <a:pt x="5112" y="12608"/>
                    <a:pt x="6390" y="12608"/>
                  </a:cubicBezTo>
                  <a:cubicBezTo>
                    <a:pt x="7668" y="12608"/>
                    <a:pt x="8307" y="12608"/>
                    <a:pt x="8946" y="11970"/>
                  </a:cubicBezTo>
                  <a:cubicBezTo>
                    <a:pt x="9585" y="11332"/>
                    <a:pt x="10224" y="11332"/>
                    <a:pt x="10863" y="10693"/>
                  </a:cubicBezTo>
                  <a:cubicBezTo>
                    <a:pt x="12141" y="9416"/>
                    <a:pt x="12780" y="8140"/>
                    <a:pt x="12780" y="6224"/>
                  </a:cubicBezTo>
                  <a:cubicBezTo>
                    <a:pt x="12780" y="4309"/>
                    <a:pt x="12141" y="3032"/>
                    <a:pt x="10863" y="1756"/>
                  </a:cubicBezTo>
                  <a:cubicBezTo>
                    <a:pt x="10224" y="1117"/>
                    <a:pt x="9585" y="479"/>
                    <a:pt x="8946" y="479"/>
                  </a:cubicBezTo>
                  <a:cubicBezTo>
                    <a:pt x="7668" y="-160"/>
                    <a:pt x="5751" y="-160"/>
                    <a:pt x="3834" y="479"/>
                  </a:cubicBezTo>
                  <a:cubicBezTo>
                    <a:pt x="3195" y="479"/>
                    <a:pt x="2556" y="1117"/>
                    <a:pt x="1917" y="1756"/>
                  </a:cubicBezTo>
                  <a:cubicBezTo>
                    <a:pt x="639" y="3032"/>
                    <a:pt x="0" y="4309"/>
                    <a:pt x="0" y="6224"/>
                  </a:cubicBezTo>
                  <a:cubicBezTo>
                    <a:pt x="0" y="8140"/>
                    <a:pt x="639" y="9416"/>
                    <a:pt x="1917" y="10693"/>
                  </a:cubicBezTo>
                  <a:cubicBezTo>
                    <a:pt x="2556" y="11332"/>
                    <a:pt x="3195" y="11970"/>
                    <a:pt x="3834" y="11970"/>
                  </a:cubicBezTo>
                  <a:close/>
                </a:path>
              </a:pathLst>
            </a:custGeom>
            <a:solidFill>
              <a:srgbClr val="012169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13" name="Graphic 4">
              <a:extLst>
                <a:ext uri="{FF2B5EF4-FFF2-40B4-BE49-F238E27FC236}">
                  <a16:creationId xmlns:a16="http://schemas.microsoft.com/office/drawing/2014/main" id="{560B8374-4DCA-9B33-3ACA-4C3BB85912DC}"/>
                </a:ext>
              </a:extLst>
            </p:cNvPr>
            <p:cNvSpPr/>
            <p:nvPr/>
          </p:nvSpPr>
          <p:spPr>
            <a:xfrm>
              <a:off x="1719532" y="3995258"/>
              <a:ext cx="12779" cy="12768"/>
            </a:xfrm>
            <a:custGeom>
              <a:avLst/>
              <a:gdLst>
                <a:gd name="connsiteX0" fmla="*/ 1917 w 12779"/>
                <a:gd name="connsiteY0" fmla="*/ 10853 h 12768"/>
                <a:gd name="connsiteX1" fmla="*/ 6390 w 12779"/>
                <a:gd name="connsiteY1" fmla="*/ 12768 h 12768"/>
                <a:gd name="connsiteX2" fmla="*/ 8946 w 12779"/>
                <a:gd name="connsiteY2" fmla="*/ 12130 h 12768"/>
                <a:gd name="connsiteX3" fmla="*/ 10863 w 12779"/>
                <a:gd name="connsiteY3" fmla="*/ 10853 h 12768"/>
                <a:gd name="connsiteX4" fmla="*/ 12141 w 12779"/>
                <a:gd name="connsiteY4" fmla="*/ 8938 h 12768"/>
                <a:gd name="connsiteX5" fmla="*/ 12780 w 12779"/>
                <a:gd name="connsiteY5" fmla="*/ 6384 h 12768"/>
                <a:gd name="connsiteX6" fmla="*/ 10863 w 12779"/>
                <a:gd name="connsiteY6" fmla="*/ 1915 h 12768"/>
                <a:gd name="connsiteX7" fmla="*/ 1917 w 12779"/>
                <a:gd name="connsiteY7" fmla="*/ 1915 h 12768"/>
                <a:gd name="connsiteX8" fmla="*/ 0 w 12779"/>
                <a:gd name="connsiteY8" fmla="*/ 6384 h 12768"/>
                <a:gd name="connsiteX9" fmla="*/ 639 w 12779"/>
                <a:gd name="connsiteY9" fmla="*/ 8938 h 12768"/>
                <a:gd name="connsiteX10" fmla="*/ 1917 w 12779"/>
                <a:gd name="connsiteY10" fmla="*/ 10853 h 12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79" h="12768">
                  <a:moveTo>
                    <a:pt x="1917" y="10853"/>
                  </a:moveTo>
                  <a:cubicBezTo>
                    <a:pt x="3195" y="12130"/>
                    <a:pt x="4473" y="12768"/>
                    <a:pt x="6390" y="12768"/>
                  </a:cubicBezTo>
                  <a:cubicBezTo>
                    <a:pt x="7029" y="12768"/>
                    <a:pt x="8307" y="12768"/>
                    <a:pt x="8946" y="12130"/>
                  </a:cubicBezTo>
                  <a:cubicBezTo>
                    <a:pt x="9585" y="11491"/>
                    <a:pt x="10224" y="11491"/>
                    <a:pt x="10863" y="10853"/>
                  </a:cubicBezTo>
                  <a:cubicBezTo>
                    <a:pt x="11502" y="10214"/>
                    <a:pt x="12141" y="9576"/>
                    <a:pt x="12141" y="8938"/>
                  </a:cubicBezTo>
                  <a:cubicBezTo>
                    <a:pt x="12141" y="8299"/>
                    <a:pt x="12780" y="7661"/>
                    <a:pt x="12780" y="6384"/>
                  </a:cubicBezTo>
                  <a:cubicBezTo>
                    <a:pt x="12780" y="4469"/>
                    <a:pt x="12141" y="3192"/>
                    <a:pt x="10863" y="1915"/>
                  </a:cubicBezTo>
                  <a:cubicBezTo>
                    <a:pt x="8307" y="-638"/>
                    <a:pt x="4473" y="-638"/>
                    <a:pt x="1917" y="1915"/>
                  </a:cubicBezTo>
                  <a:cubicBezTo>
                    <a:pt x="639" y="3192"/>
                    <a:pt x="0" y="4469"/>
                    <a:pt x="0" y="6384"/>
                  </a:cubicBezTo>
                  <a:cubicBezTo>
                    <a:pt x="0" y="7022"/>
                    <a:pt x="0" y="8299"/>
                    <a:pt x="639" y="8938"/>
                  </a:cubicBezTo>
                  <a:cubicBezTo>
                    <a:pt x="1278" y="9576"/>
                    <a:pt x="1278" y="10214"/>
                    <a:pt x="1917" y="10853"/>
                  </a:cubicBezTo>
                  <a:close/>
                </a:path>
              </a:pathLst>
            </a:custGeom>
            <a:solidFill>
              <a:srgbClr val="012169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16" name="Graphic 4">
              <a:extLst>
                <a:ext uri="{FF2B5EF4-FFF2-40B4-BE49-F238E27FC236}">
                  <a16:creationId xmlns:a16="http://schemas.microsoft.com/office/drawing/2014/main" id="{8D04CCB1-E252-9394-8FE4-38C73C6149DF}"/>
                </a:ext>
              </a:extLst>
            </p:cNvPr>
            <p:cNvSpPr/>
            <p:nvPr/>
          </p:nvSpPr>
          <p:spPr>
            <a:xfrm>
              <a:off x="1582787" y="3926950"/>
              <a:ext cx="225564" cy="194711"/>
            </a:xfrm>
            <a:custGeom>
              <a:avLst/>
              <a:gdLst>
                <a:gd name="connsiteX0" fmla="*/ 219175 w 225564"/>
                <a:gd name="connsiteY0" fmla="*/ 0 h 194711"/>
                <a:gd name="connsiteX1" fmla="*/ 6390 w 225564"/>
                <a:gd name="connsiteY1" fmla="*/ 0 h 194711"/>
                <a:gd name="connsiteX2" fmla="*/ 0 w 225564"/>
                <a:gd name="connsiteY2" fmla="*/ 6384 h 194711"/>
                <a:gd name="connsiteX3" fmla="*/ 0 w 225564"/>
                <a:gd name="connsiteY3" fmla="*/ 143001 h 194711"/>
                <a:gd name="connsiteX4" fmla="*/ 6390 w 225564"/>
                <a:gd name="connsiteY4" fmla="*/ 149385 h 194711"/>
                <a:gd name="connsiteX5" fmla="*/ 37701 w 225564"/>
                <a:gd name="connsiteY5" fmla="*/ 149385 h 194711"/>
                <a:gd name="connsiteX6" fmla="*/ 37701 w 225564"/>
                <a:gd name="connsiteY6" fmla="*/ 188327 h 194711"/>
                <a:gd name="connsiteX7" fmla="*/ 42174 w 225564"/>
                <a:gd name="connsiteY7" fmla="*/ 194073 h 194711"/>
                <a:gd name="connsiteX8" fmla="*/ 44091 w 225564"/>
                <a:gd name="connsiteY8" fmla="*/ 194711 h 194711"/>
                <a:gd name="connsiteX9" fmla="*/ 49202 w 225564"/>
                <a:gd name="connsiteY9" fmla="*/ 192158 h 194711"/>
                <a:gd name="connsiteX10" fmla="*/ 84986 w 225564"/>
                <a:gd name="connsiteY10" fmla="*/ 148747 h 194711"/>
                <a:gd name="connsiteX11" fmla="*/ 219175 w 225564"/>
                <a:gd name="connsiteY11" fmla="*/ 148747 h 194711"/>
                <a:gd name="connsiteX12" fmla="*/ 225565 w 225564"/>
                <a:gd name="connsiteY12" fmla="*/ 142363 h 194711"/>
                <a:gd name="connsiteX13" fmla="*/ 225565 w 225564"/>
                <a:gd name="connsiteY13" fmla="*/ 5746 h 194711"/>
                <a:gd name="connsiteX14" fmla="*/ 219175 w 225564"/>
                <a:gd name="connsiteY14" fmla="*/ 0 h 194711"/>
                <a:gd name="connsiteX15" fmla="*/ 212785 w 225564"/>
                <a:gd name="connsiteY15" fmla="*/ 136617 h 194711"/>
                <a:gd name="connsiteX16" fmla="*/ 82430 w 225564"/>
                <a:gd name="connsiteY16" fmla="*/ 136617 h 194711"/>
                <a:gd name="connsiteX17" fmla="*/ 77318 w 225564"/>
                <a:gd name="connsiteY17" fmla="*/ 139171 h 194711"/>
                <a:gd name="connsiteX18" fmla="*/ 50481 w 225564"/>
                <a:gd name="connsiteY18" fmla="*/ 171091 h 194711"/>
                <a:gd name="connsiteX19" fmla="*/ 50481 w 225564"/>
                <a:gd name="connsiteY19" fmla="*/ 143001 h 194711"/>
                <a:gd name="connsiteX20" fmla="*/ 44091 w 225564"/>
                <a:gd name="connsiteY20" fmla="*/ 136617 h 194711"/>
                <a:gd name="connsiteX21" fmla="*/ 12780 w 225564"/>
                <a:gd name="connsiteY21" fmla="*/ 136617 h 194711"/>
                <a:gd name="connsiteX22" fmla="*/ 12780 w 225564"/>
                <a:gd name="connsiteY22" fmla="*/ 12768 h 194711"/>
                <a:gd name="connsiteX23" fmla="*/ 212785 w 225564"/>
                <a:gd name="connsiteY23" fmla="*/ 12768 h 194711"/>
                <a:gd name="connsiteX24" fmla="*/ 212785 w 225564"/>
                <a:gd name="connsiteY24" fmla="*/ 136617 h 194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5564" h="194711">
                  <a:moveTo>
                    <a:pt x="219175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143001"/>
                  </a:lnTo>
                  <a:cubicBezTo>
                    <a:pt x="0" y="146832"/>
                    <a:pt x="2556" y="149385"/>
                    <a:pt x="6390" y="149385"/>
                  </a:cubicBezTo>
                  <a:lnTo>
                    <a:pt x="37701" y="149385"/>
                  </a:lnTo>
                  <a:lnTo>
                    <a:pt x="37701" y="188327"/>
                  </a:lnTo>
                  <a:cubicBezTo>
                    <a:pt x="37701" y="190881"/>
                    <a:pt x="39618" y="193435"/>
                    <a:pt x="42174" y="194073"/>
                  </a:cubicBezTo>
                  <a:cubicBezTo>
                    <a:pt x="42813" y="194073"/>
                    <a:pt x="43452" y="194711"/>
                    <a:pt x="44091" y="194711"/>
                  </a:cubicBezTo>
                  <a:cubicBezTo>
                    <a:pt x="46008" y="194711"/>
                    <a:pt x="47925" y="194073"/>
                    <a:pt x="49202" y="192158"/>
                  </a:cubicBezTo>
                  <a:lnTo>
                    <a:pt x="84986" y="148747"/>
                  </a:lnTo>
                  <a:lnTo>
                    <a:pt x="219175" y="148747"/>
                  </a:lnTo>
                  <a:cubicBezTo>
                    <a:pt x="223009" y="148747"/>
                    <a:pt x="225565" y="146193"/>
                    <a:pt x="225565" y="142363"/>
                  </a:cubicBezTo>
                  <a:lnTo>
                    <a:pt x="225565" y="5746"/>
                  </a:lnTo>
                  <a:cubicBezTo>
                    <a:pt x="225565" y="2554"/>
                    <a:pt x="223009" y="0"/>
                    <a:pt x="219175" y="0"/>
                  </a:cubicBezTo>
                  <a:close/>
                  <a:moveTo>
                    <a:pt x="212785" y="136617"/>
                  </a:moveTo>
                  <a:lnTo>
                    <a:pt x="82430" y="136617"/>
                  </a:lnTo>
                  <a:cubicBezTo>
                    <a:pt x="80513" y="136617"/>
                    <a:pt x="78596" y="137256"/>
                    <a:pt x="77318" y="139171"/>
                  </a:cubicBezTo>
                  <a:lnTo>
                    <a:pt x="50481" y="171091"/>
                  </a:lnTo>
                  <a:lnTo>
                    <a:pt x="50481" y="143001"/>
                  </a:lnTo>
                  <a:cubicBezTo>
                    <a:pt x="50481" y="139171"/>
                    <a:pt x="47925" y="136617"/>
                    <a:pt x="44091" y="136617"/>
                  </a:cubicBezTo>
                  <a:lnTo>
                    <a:pt x="12780" y="136617"/>
                  </a:lnTo>
                  <a:lnTo>
                    <a:pt x="12780" y="12768"/>
                  </a:lnTo>
                  <a:lnTo>
                    <a:pt x="212785" y="12768"/>
                  </a:lnTo>
                  <a:lnTo>
                    <a:pt x="212785" y="136617"/>
                  </a:lnTo>
                  <a:close/>
                </a:path>
              </a:pathLst>
            </a:custGeom>
            <a:solidFill>
              <a:srgbClr val="012169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</p:grpSp>
    </p:spTree>
    <p:extLst>
      <p:ext uri="{BB962C8B-B14F-4D97-AF65-F5344CB8AC3E}">
        <p14:creationId xmlns:p14="http://schemas.microsoft.com/office/powerpoint/2010/main" val="318642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E0A7C5-F9D1-4306-E215-3BDC2AE231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3979360-0C57-1444-B96F-26156F211F34}"/>
              </a:ext>
            </a:extLst>
          </p:cNvPr>
          <p:cNvCxnSpPr>
            <a:cxnSpLocks/>
          </p:cNvCxnSpPr>
          <p:nvPr/>
        </p:nvCxnSpPr>
        <p:spPr>
          <a:xfrm>
            <a:off x="8906687" y="1066058"/>
            <a:ext cx="3276000" cy="0"/>
          </a:xfrm>
          <a:prstGeom prst="line">
            <a:avLst/>
          </a:prstGeom>
          <a:noFill/>
          <a:ln w="12700" cap="flat" cmpd="sng" algn="ctr">
            <a:solidFill>
              <a:srgbClr val="FDC124"/>
            </a:solidFill>
            <a:prstDash val="solid"/>
          </a:ln>
          <a:effectLst/>
        </p:spPr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8E48F7E6-B634-04BD-2B6A-4A1EA14088EA}"/>
              </a:ext>
            </a:extLst>
          </p:cNvPr>
          <p:cNvSpPr/>
          <p:nvPr/>
        </p:nvSpPr>
        <p:spPr bwMode="gray">
          <a:xfrm>
            <a:off x="8823382" y="904058"/>
            <a:ext cx="324000" cy="32400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FAE7E1A3-0977-5314-5330-9937D7377711}"/>
              </a:ext>
            </a:extLst>
          </p:cNvPr>
          <p:cNvSpPr/>
          <p:nvPr/>
        </p:nvSpPr>
        <p:spPr bwMode="gray">
          <a:xfrm>
            <a:off x="9370600" y="904058"/>
            <a:ext cx="324000" cy="32400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2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FD865D2-3CA6-32F9-904F-C5D93F987E98}"/>
              </a:ext>
            </a:extLst>
          </p:cNvPr>
          <p:cNvSpPr/>
          <p:nvPr/>
        </p:nvSpPr>
        <p:spPr bwMode="gray">
          <a:xfrm>
            <a:off x="10465036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4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DA4417D1-D014-A9F7-3466-2A097B517AB4}"/>
              </a:ext>
            </a:extLst>
          </p:cNvPr>
          <p:cNvSpPr/>
          <p:nvPr/>
        </p:nvSpPr>
        <p:spPr bwMode="gray">
          <a:xfrm>
            <a:off x="9917818" y="904058"/>
            <a:ext cx="324000" cy="324000"/>
          </a:xfrm>
          <a:prstGeom prst="ellipse">
            <a:avLst/>
          </a:prstGeom>
          <a:solidFill>
            <a:srgbClr val="DEA726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ca-ES" sz="700" kern="0" dirty="0">
                <a:solidFill>
                  <a:schemeClr val="bg1"/>
                </a:solidFill>
                <a:latin typeface="Aptos" panose="020B0004020202020204" pitchFamily="34" charset="0"/>
              </a:rPr>
              <a:t>03</a:t>
            </a:r>
            <a:endParaRPr kumimoji="0" lang="ca-ES" sz="7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CFC98A53-4BC7-ABC8-3BF5-D0F8A388E924}"/>
              </a:ext>
            </a:extLst>
          </p:cNvPr>
          <p:cNvSpPr/>
          <p:nvPr/>
        </p:nvSpPr>
        <p:spPr bwMode="gray">
          <a:xfrm>
            <a:off x="11012254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5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BA07A284-1AA7-F2E6-4770-F21E24A6B72F}"/>
              </a:ext>
            </a:extLst>
          </p:cNvPr>
          <p:cNvSpPr/>
          <p:nvPr/>
        </p:nvSpPr>
        <p:spPr bwMode="gray">
          <a:xfrm>
            <a:off x="11559471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6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F8F8E41D-C5DF-320A-AF9F-6CEEE999BDCA}"/>
              </a:ext>
            </a:extLst>
          </p:cNvPr>
          <p:cNvSpPr txBox="1">
            <a:spLocks/>
          </p:cNvSpPr>
          <p:nvPr/>
        </p:nvSpPr>
        <p:spPr>
          <a:xfrm>
            <a:off x="484480" y="834325"/>
            <a:ext cx="80396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rgbClr val="DFA726"/>
                </a:solidFill>
                <a:latin typeface="Trebuchet MS"/>
                <a:cs typeface="Trebuchet MS"/>
              </a:defRPr>
            </a:lvl1pPr>
            <a:lvl2pPr marL="179388" indent="-179388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2pPr>
            <a:lvl3pPr marL="360363" indent="-180975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900" b="0" kern="120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3pPr>
            <a:lvl4pPr marL="538163" indent="-1778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900" b="0" kern="1200" baseline="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4pPr>
            <a:lvl5pPr marL="717550" indent="-179388" algn="l" defTabSz="5988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900" b="0" kern="1200" baseline="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a-ES" b="1" dirty="0"/>
              <a:t>FASES DEL PROCESO </a:t>
            </a:r>
            <a:r>
              <a:rPr lang="ca-ES" dirty="0"/>
              <a:t>| </a:t>
            </a:r>
            <a:r>
              <a:rPr lang="ca-ES" dirty="0">
                <a:solidFill>
                  <a:srgbClr val="012169"/>
                </a:solidFill>
              </a:rPr>
              <a:t>Verificación datos contacto vía email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EC05BF5-596E-A86E-58CD-8A5D39B6259F}"/>
              </a:ext>
            </a:extLst>
          </p:cNvPr>
          <p:cNvSpPr txBox="1"/>
          <p:nvPr/>
        </p:nvSpPr>
        <p:spPr>
          <a:xfrm>
            <a:off x="500043" y="1299575"/>
            <a:ext cx="7200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 algn="l">
              <a:buNone/>
            </a:pPr>
            <a:r>
              <a:rPr lang="es-ES" sz="1400" dirty="0">
                <a:solidFill>
                  <a:sysClr val="windowText" lastClr="000000"/>
                </a:solidFill>
              </a:rPr>
              <a:t>Fase de validación del canal de comunicación del usuario, imprescindible para garantizar la autenticidad y continuidad del proceso de identificación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11519D9-E994-0C78-8FF7-5A49F3FE00C1}"/>
              </a:ext>
            </a:extLst>
          </p:cNvPr>
          <p:cNvSpPr txBox="1"/>
          <p:nvPr/>
        </p:nvSpPr>
        <p:spPr>
          <a:xfrm>
            <a:off x="1282365" y="2083098"/>
            <a:ext cx="56103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>
              <a:buNone/>
            </a:pPr>
            <a:r>
              <a:rPr lang="es-ES" sz="1200" b="1" dirty="0">
                <a:solidFill>
                  <a:srgbClr val="012169"/>
                </a:solidFill>
              </a:rPr>
              <a:t>VERIFICACIÓN DEL CORREO ELECTRÓNICO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021C653-2F2A-DE7B-C939-16B3923578E5}"/>
              </a:ext>
            </a:extLst>
          </p:cNvPr>
          <p:cNvSpPr txBox="1"/>
          <p:nvPr/>
        </p:nvSpPr>
        <p:spPr>
          <a:xfrm>
            <a:off x="1282365" y="2488284"/>
            <a:ext cx="4396357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>
              <a:buNone/>
            </a:pPr>
            <a:r>
              <a:rPr lang="es-ES" dirty="0">
                <a:solidFill>
                  <a:srgbClr val="012169"/>
                </a:solidFill>
              </a:rPr>
              <a:t>La verificación del canal de comunicación es un paso esencial para asegurar la autenticidad del usuario y la continuidad segura del proceso de identificación.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B397739-66C3-6565-65D1-3BB02F5FFEBF}"/>
              </a:ext>
            </a:extLst>
          </p:cNvPr>
          <p:cNvCxnSpPr>
            <a:cxnSpLocks/>
          </p:cNvCxnSpPr>
          <p:nvPr/>
        </p:nvCxnSpPr>
        <p:spPr>
          <a:xfrm>
            <a:off x="1282365" y="2426935"/>
            <a:ext cx="3950035" cy="0"/>
          </a:xfrm>
          <a:prstGeom prst="line">
            <a:avLst/>
          </a:prstGeom>
          <a:ln>
            <a:solidFill>
              <a:srgbClr val="FDC1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aphic 4">
            <a:extLst>
              <a:ext uri="{FF2B5EF4-FFF2-40B4-BE49-F238E27FC236}">
                <a16:creationId xmlns:a16="http://schemas.microsoft.com/office/drawing/2014/main" id="{8FF17BE4-96BC-7E8C-7AAC-F5B68EF48BAD}"/>
              </a:ext>
            </a:extLst>
          </p:cNvPr>
          <p:cNvGrpSpPr/>
          <p:nvPr/>
        </p:nvGrpSpPr>
        <p:grpSpPr>
          <a:xfrm>
            <a:off x="616314" y="2038360"/>
            <a:ext cx="504001" cy="503525"/>
            <a:chOff x="10325499" y="1402723"/>
            <a:chExt cx="361670" cy="361971"/>
          </a:xfrm>
          <a:solidFill>
            <a:srgbClr val="012169"/>
          </a:solidFill>
        </p:grpSpPr>
        <p:sp>
          <p:nvSpPr>
            <p:cNvPr id="3" name="Graphic 4">
              <a:extLst>
                <a:ext uri="{FF2B5EF4-FFF2-40B4-BE49-F238E27FC236}">
                  <a16:creationId xmlns:a16="http://schemas.microsoft.com/office/drawing/2014/main" id="{7D6154EA-CD7C-ED88-70EF-63D09689BFE5}"/>
                </a:ext>
              </a:extLst>
            </p:cNvPr>
            <p:cNvSpPr/>
            <p:nvPr/>
          </p:nvSpPr>
          <p:spPr>
            <a:xfrm>
              <a:off x="10410485" y="1524657"/>
              <a:ext cx="60065" cy="116188"/>
            </a:xfrm>
            <a:custGeom>
              <a:avLst/>
              <a:gdLst>
                <a:gd name="connsiteX0" fmla="*/ 0 w 60065"/>
                <a:gd name="connsiteY0" fmla="*/ 116188 h 116188"/>
                <a:gd name="connsiteX1" fmla="*/ 60066 w 60065"/>
                <a:gd name="connsiteY1" fmla="*/ 56179 h 116188"/>
                <a:gd name="connsiteX2" fmla="*/ 0 w 60065"/>
                <a:gd name="connsiteY2" fmla="*/ 0 h 116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065" h="116188">
                  <a:moveTo>
                    <a:pt x="0" y="116188"/>
                  </a:moveTo>
                  <a:lnTo>
                    <a:pt x="60066" y="5617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4" name="Graphic 4">
              <a:extLst>
                <a:ext uri="{FF2B5EF4-FFF2-40B4-BE49-F238E27FC236}">
                  <a16:creationId xmlns:a16="http://schemas.microsoft.com/office/drawing/2014/main" id="{4FC276DB-132A-22DA-101E-9E270A151CCC}"/>
                </a:ext>
              </a:extLst>
            </p:cNvPr>
            <p:cNvSpPr/>
            <p:nvPr/>
          </p:nvSpPr>
          <p:spPr>
            <a:xfrm>
              <a:off x="10419431" y="1589774"/>
              <a:ext cx="173806" cy="60647"/>
            </a:xfrm>
            <a:custGeom>
              <a:avLst/>
              <a:gdLst>
                <a:gd name="connsiteX0" fmla="*/ 113102 w 173806"/>
                <a:gd name="connsiteY0" fmla="*/ 0 h 60647"/>
                <a:gd name="connsiteX1" fmla="*/ 91376 w 173806"/>
                <a:gd name="connsiteY1" fmla="*/ 20429 h 60647"/>
                <a:gd name="connsiteX2" fmla="*/ 86903 w 173806"/>
                <a:gd name="connsiteY2" fmla="*/ 22344 h 60647"/>
                <a:gd name="connsiteX3" fmla="*/ 82430 w 173806"/>
                <a:gd name="connsiteY3" fmla="*/ 20429 h 60647"/>
                <a:gd name="connsiteX4" fmla="*/ 60704 w 173806"/>
                <a:gd name="connsiteY4" fmla="*/ 0 h 60647"/>
                <a:gd name="connsiteX5" fmla="*/ 0 w 173806"/>
                <a:gd name="connsiteY5" fmla="*/ 60648 h 60647"/>
                <a:gd name="connsiteX6" fmla="*/ 173807 w 173806"/>
                <a:gd name="connsiteY6" fmla="*/ 60648 h 60647"/>
                <a:gd name="connsiteX7" fmla="*/ 113102 w 173806"/>
                <a:gd name="connsiteY7" fmla="*/ 0 h 60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806" h="60647">
                  <a:moveTo>
                    <a:pt x="113102" y="0"/>
                  </a:moveTo>
                  <a:lnTo>
                    <a:pt x="91376" y="20429"/>
                  </a:lnTo>
                  <a:cubicBezTo>
                    <a:pt x="90098" y="21706"/>
                    <a:pt x="88820" y="22344"/>
                    <a:pt x="86903" y="22344"/>
                  </a:cubicBezTo>
                  <a:cubicBezTo>
                    <a:pt x="84986" y="22344"/>
                    <a:pt x="83708" y="21706"/>
                    <a:pt x="82430" y="20429"/>
                  </a:cubicBezTo>
                  <a:lnTo>
                    <a:pt x="60704" y="0"/>
                  </a:lnTo>
                  <a:lnTo>
                    <a:pt x="0" y="60648"/>
                  </a:lnTo>
                  <a:lnTo>
                    <a:pt x="173807" y="60648"/>
                  </a:lnTo>
                  <a:lnTo>
                    <a:pt x="113102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5" name="Graphic 4">
              <a:extLst>
                <a:ext uri="{FF2B5EF4-FFF2-40B4-BE49-F238E27FC236}">
                  <a16:creationId xmlns:a16="http://schemas.microsoft.com/office/drawing/2014/main" id="{173036FB-19BF-CE8C-8456-892DA63DED25}"/>
                </a:ext>
              </a:extLst>
            </p:cNvPr>
            <p:cNvSpPr/>
            <p:nvPr/>
          </p:nvSpPr>
          <p:spPr>
            <a:xfrm>
              <a:off x="10541478" y="1524657"/>
              <a:ext cx="60704" cy="116188"/>
            </a:xfrm>
            <a:custGeom>
              <a:avLst/>
              <a:gdLst>
                <a:gd name="connsiteX0" fmla="*/ 0 w 60704"/>
                <a:gd name="connsiteY0" fmla="*/ 56179 h 116188"/>
                <a:gd name="connsiteX1" fmla="*/ 60704 w 60704"/>
                <a:gd name="connsiteY1" fmla="*/ 116188 h 116188"/>
                <a:gd name="connsiteX2" fmla="*/ 60704 w 60704"/>
                <a:gd name="connsiteY2" fmla="*/ 0 h 116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704" h="116188">
                  <a:moveTo>
                    <a:pt x="0" y="56179"/>
                  </a:moveTo>
                  <a:lnTo>
                    <a:pt x="60704" y="116188"/>
                  </a:lnTo>
                  <a:lnTo>
                    <a:pt x="60704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6" name="Graphic 4">
              <a:extLst>
                <a:ext uri="{FF2B5EF4-FFF2-40B4-BE49-F238E27FC236}">
                  <a16:creationId xmlns:a16="http://schemas.microsoft.com/office/drawing/2014/main" id="{1AF84D43-6753-0AEE-A388-C7ABF61114B9}"/>
                </a:ext>
              </a:extLst>
            </p:cNvPr>
            <p:cNvSpPr/>
            <p:nvPr/>
          </p:nvSpPr>
          <p:spPr>
            <a:xfrm>
              <a:off x="10325499" y="1402723"/>
              <a:ext cx="361670" cy="361971"/>
            </a:xfrm>
            <a:custGeom>
              <a:avLst/>
              <a:gdLst>
                <a:gd name="connsiteX0" fmla="*/ 180835 w 361670"/>
                <a:gd name="connsiteY0" fmla="*/ 0 h 361971"/>
                <a:gd name="connsiteX1" fmla="*/ 0 w 361670"/>
                <a:gd name="connsiteY1" fmla="*/ 180667 h 361971"/>
                <a:gd name="connsiteX2" fmla="*/ 180835 w 361670"/>
                <a:gd name="connsiteY2" fmla="*/ 361972 h 361971"/>
                <a:gd name="connsiteX3" fmla="*/ 361670 w 361670"/>
                <a:gd name="connsiteY3" fmla="*/ 181305 h 361971"/>
                <a:gd name="connsiteX4" fmla="*/ 361670 w 361670"/>
                <a:gd name="connsiteY4" fmla="*/ 181305 h 361971"/>
                <a:gd name="connsiteX5" fmla="*/ 180835 w 361670"/>
                <a:gd name="connsiteY5" fmla="*/ 0 h 361971"/>
                <a:gd name="connsiteX6" fmla="*/ 180835 w 361670"/>
                <a:gd name="connsiteY6" fmla="*/ 0 h 361971"/>
                <a:gd name="connsiteX7" fmla="*/ 289464 w 361670"/>
                <a:gd name="connsiteY7" fmla="*/ 253444 h 361971"/>
                <a:gd name="connsiteX8" fmla="*/ 288825 w 361670"/>
                <a:gd name="connsiteY8" fmla="*/ 255998 h 361971"/>
                <a:gd name="connsiteX9" fmla="*/ 283074 w 361670"/>
                <a:gd name="connsiteY9" fmla="*/ 259828 h 361971"/>
                <a:gd name="connsiteX10" fmla="*/ 78596 w 361670"/>
                <a:gd name="connsiteY10" fmla="*/ 259828 h 361971"/>
                <a:gd name="connsiteX11" fmla="*/ 76040 w 361670"/>
                <a:gd name="connsiteY11" fmla="*/ 259190 h 361971"/>
                <a:gd name="connsiteX12" fmla="*/ 72206 w 361670"/>
                <a:gd name="connsiteY12" fmla="*/ 255998 h 361971"/>
                <a:gd name="connsiteX13" fmla="*/ 71567 w 361670"/>
                <a:gd name="connsiteY13" fmla="*/ 253444 h 361971"/>
                <a:gd name="connsiteX14" fmla="*/ 71567 w 361670"/>
                <a:gd name="connsiteY14" fmla="*/ 107251 h 361971"/>
                <a:gd name="connsiteX15" fmla="*/ 72206 w 361670"/>
                <a:gd name="connsiteY15" fmla="*/ 105336 h 361971"/>
                <a:gd name="connsiteX16" fmla="*/ 72206 w 361670"/>
                <a:gd name="connsiteY16" fmla="*/ 105336 h 361971"/>
                <a:gd name="connsiteX17" fmla="*/ 72206 w 361670"/>
                <a:gd name="connsiteY17" fmla="*/ 104697 h 361971"/>
                <a:gd name="connsiteX18" fmla="*/ 73484 w 361670"/>
                <a:gd name="connsiteY18" fmla="*/ 103420 h 361971"/>
                <a:gd name="connsiteX19" fmla="*/ 74123 w 361670"/>
                <a:gd name="connsiteY19" fmla="*/ 102782 h 361971"/>
                <a:gd name="connsiteX20" fmla="*/ 75401 w 361670"/>
                <a:gd name="connsiteY20" fmla="*/ 102144 h 361971"/>
                <a:gd name="connsiteX21" fmla="*/ 76040 w 361670"/>
                <a:gd name="connsiteY21" fmla="*/ 101505 h 361971"/>
                <a:gd name="connsiteX22" fmla="*/ 77957 w 361670"/>
                <a:gd name="connsiteY22" fmla="*/ 100867 h 361971"/>
                <a:gd name="connsiteX23" fmla="*/ 282435 w 361670"/>
                <a:gd name="connsiteY23" fmla="*/ 100867 h 361971"/>
                <a:gd name="connsiteX24" fmla="*/ 284352 w 361670"/>
                <a:gd name="connsiteY24" fmla="*/ 101505 h 361971"/>
                <a:gd name="connsiteX25" fmla="*/ 284991 w 361670"/>
                <a:gd name="connsiteY25" fmla="*/ 102144 h 361971"/>
                <a:gd name="connsiteX26" fmla="*/ 286269 w 361670"/>
                <a:gd name="connsiteY26" fmla="*/ 102782 h 361971"/>
                <a:gd name="connsiteX27" fmla="*/ 286908 w 361670"/>
                <a:gd name="connsiteY27" fmla="*/ 103420 h 361971"/>
                <a:gd name="connsiteX28" fmla="*/ 288186 w 361670"/>
                <a:gd name="connsiteY28" fmla="*/ 104697 h 361971"/>
                <a:gd name="connsiteX29" fmla="*/ 288186 w 361670"/>
                <a:gd name="connsiteY29" fmla="*/ 105336 h 361971"/>
                <a:gd name="connsiteX30" fmla="*/ 288186 w 361670"/>
                <a:gd name="connsiteY30" fmla="*/ 105336 h 361971"/>
                <a:gd name="connsiteX31" fmla="*/ 288825 w 361670"/>
                <a:gd name="connsiteY31" fmla="*/ 107251 h 361971"/>
                <a:gd name="connsiteX32" fmla="*/ 288825 w 361670"/>
                <a:gd name="connsiteY32" fmla="*/ 107251 h 361971"/>
                <a:gd name="connsiteX33" fmla="*/ 289464 w 361670"/>
                <a:gd name="connsiteY33" fmla="*/ 25344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61670" h="361971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257"/>
                    <a:pt x="81152" y="361972"/>
                    <a:pt x="180835" y="361972"/>
                  </a:cubicBezTo>
                  <a:cubicBezTo>
                    <a:pt x="281157" y="361972"/>
                    <a:pt x="361670" y="280895"/>
                    <a:pt x="361670" y="181305"/>
                  </a:cubicBezTo>
                  <a:cubicBezTo>
                    <a:pt x="361670" y="181305"/>
                    <a:pt x="361670" y="181305"/>
                    <a:pt x="361670" y="181305"/>
                  </a:cubicBezTo>
                  <a:cubicBezTo>
                    <a:pt x="361670" y="80438"/>
                    <a:pt x="280518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289464" y="253444"/>
                  </a:moveTo>
                  <a:cubicBezTo>
                    <a:pt x="289464" y="254082"/>
                    <a:pt x="289464" y="255359"/>
                    <a:pt x="288825" y="255998"/>
                  </a:cubicBezTo>
                  <a:cubicBezTo>
                    <a:pt x="287547" y="258551"/>
                    <a:pt x="285630" y="259828"/>
                    <a:pt x="283074" y="259828"/>
                  </a:cubicBezTo>
                  <a:lnTo>
                    <a:pt x="78596" y="259828"/>
                  </a:lnTo>
                  <a:cubicBezTo>
                    <a:pt x="77957" y="259828"/>
                    <a:pt x="76679" y="259828"/>
                    <a:pt x="76040" y="259190"/>
                  </a:cubicBezTo>
                  <a:cubicBezTo>
                    <a:pt x="74762" y="258551"/>
                    <a:pt x="73484" y="257274"/>
                    <a:pt x="72206" y="255998"/>
                  </a:cubicBezTo>
                  <a:cubicBezTo>
                    <a:pt x="72206" y="255359"/>
                    <a:pt x="71567" y="254721"/>
                    <a:pt x="71567" y="253444"/>
                  </a:cubicBezTo>
                  <a:lnTo>
                    <a:pt x="71567" y="107251"/>
                  </a:lnTo>
                  <a:cubicBezTo>
                    <a:pt x="71567" y="106612"/>
                    <a:pt x="71567" y="105974"/>
                    <a:pt x="72206" y="105336"/>
                  </a:cubicBezTo>
                  <a:lnTo>
                    <a:pt x="72206" y="105336"/>
                  </a:lnTo>
                  <a:lnTo>
                    <a:pt x="72206" y="104697"/>
                  </a:lnTo>
                  <a:cubicBezTo>
                    <a:pt x="72206" y="104059"/>
                    <a:pt x="72845" y="103420"/>
                    <a:pt x="73484" y="103420"/>
                  </a:cubicBezTo>
                  <a:lnTo>
                    <a:pt x="74123" y="102782"/>
                  </a:lnTo>
                  <a:cubicBezTo>
                    <a:pt x="74762" y="102144"/>
                    <a:pt x="74762" y="102144"/>
                    <a:pt x="75401" y="102144"/>
                  </a:cubicBezTo>
                  <a:cubicBezTo>
                    <a:pt x="75401" y="102144"/>
                    <a:pt x="76040" y="102144"/>
                    <a:pt x="76040" y="101505"/>
                  </a:cubicBezTo>
                  <a:cubicBezTo>
                    <a:pt x="76679" y="101505"/>
                    <a:pt x="77318" y="100867"/>
                    <a:pt x="77957" y="100867"/>
                  </a:cubicBezTo>
                  <a:lnTo>
                    <a:pt x="282435" y="100867"/>
                  </a:lnTo>
                  <a:cubicBezTo>
                    <a:pt x="283074" y="100867"/>
                    <a:pt x="283713" y="100867"/>
                    <a:pt x="284352" y="101505"/>
                  </a:cubicBezTo>
                  <a:lnTo>
                    <a:pt x="284991" y="102144"/>
                  </a:lnTo>
                  <a:cubicBezTo>
                    <a:pt x="285630" y="102144"/>
                    <a:pt x="285630" y="102782"/>
                    <a:pt x="286269" y="102782"/>
                  </a:cubicBezTo>
                  <a:lnTo>
                    <a:pt x="286908" y="103420"/>
                  </a:lnTo>
                  <a:cubicBezTo>
                    <a:pt x="287547" y="104059"/>
                    <a:pt x="287547" y="104059"/>
                    <a:pt x="288186" y="104697"/>
                  </a:cubicBezTo>
                  <a:lnTo>
                    <a:pt x="288186" y="105336"/>
                  </a:lnTo>
                  <a:lnTo>
                    <a:pt x="288186" y="105336"/>
                  </a:lnTo>
                  <a:cubicBezTo>
                    <a:pt x="288186" y="105974"/>
                    <a:pt x="288825" y="106612"/>
                    <a:pt x="288825" y="107251"/>
                  </a:cubicBezTo>
                  <a:lnTo>
                    <a:pt x="288825" y="107251"/>
                  </a:lnTo>
                  <a:lnTo>
                    <a:pt x="289464" y="25344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7" name="Graphic 4">
              <a:extLst>
                <a:ext uri="{FF2B5EF4-FFF2-40B4-BE49-F238E27FC236}">
                  <a16:creationId xmlns:a16="http://schemas.microsoft.com/office/drawing/2014/main" id="{3FB99FD1-B9B6-5499-B83B-4C809749ED0B}"/>
                </a:ext>
              </a:extLst>
            </p:cNvPr>
            <p:cNvSpPr/>
            <p:nvPr/>
          </p:nvSpPr>
          <p:spPr>
            <a:xfrm>
              <a:off x="10420070" y="1516996"/>
              <a:ext cx="171889" cy="79799"/>
            </a:xfrm>
            <a:custGeom>
              <a:avLst/>
              <a:gdLst>
                <a:gd name="connsiteX0" fmla="*/ 171889 w 171889"/>
                <a:gd name="connsiteY0" fmla="*/ 0 h 79799"/>
                <a:gd name="connsiteX1" fmla="*/ 0 w 171889"/>
                <a:gd name="connsiteY1" fmla="*/ 0 h 79799"/>
                <a:gd name="connsiteX2" fmla="*/ 86264 w 171889"/>
                <a:gd name="connsiteY2" fmla="*/ 79800 h 79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889" h="79799">
                  <a:moveTo>
                    <a:pt x="171889" y="0"/>
                  </a:moveTo>
                  <a:lnTo>
                    <a:pt x="0" y="0"/>
                  </a:lnTo>
                  <a:lnTo>
                    <a:pt x="86264" y="7980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0BB975C-E874-CB23-263D-315B5594A22E}"/>
              </a:ext>
            </a:extLst>
          </p:cNvPr>
          <p:cNvSpPr/>
          <p:nvPr/>
        </p:nvSpPr>
        <p:spPr bwMode="gray">
          <a:xfrm>
            <a:off x="6103029" y="1844715"/>
            <a:ext cx="5789417" cy="4609796"/>
          </a:xfrm>
          <a:prstGeom prst="roundRect">
            <a:avLst>
              <a:gd name="adj" fmla="val 3708"/>
            </a:avLst>
          </a:prstGeom>
          <a:solidFill>
            <a:srgbClr val="F6F8F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5" name="object 14">
            <a:extLst>
              <a:ext uri="{FF2B5EF4-FFF2-40B4-BE49-F238E27FC236}">
                <a16:creationId xmlns:a16="http://schemas.microsoft.com/office/drawing/2014/main" id="{B3ED1A35-DB6E-4DC7-E0E0-21EADD391F2E}"/>
              </a:ext>
            </a:extLst>
          </p:cNvPr>
          <p:cNvSpPr txBox="1"/>
          <p:nvPr/>
        </p:nvSpPr>
        <p:spPr>
          <a:xfrm>
            <a:off x="6886785" y="1959285"/>
            <a:ext cx="4603081" cy="438729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0" algn="just">
              <a:buFont typeface="Wingdings" panose="05000000000000000000" pitchFamily="2" charset="2"/>
              <a:buNone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>
              <a:lnSpc>
                <a:spcPts val="1400"/>
              </a:lnSpc>
            </a:pPr>
            <a:r>
              <a:rPr lang="es-ES" b="1" dirty="0">
                <a:solidFill>
                  <a:srgbClr val="012169"/>
                </a:solidFill>
              </a:rPr>
              <a:t>VERIFICACIÓN DEL CORREO ELECTRÓNICO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Envío automático de enlace de confirmación al email proporcionado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El usuario debe acceder a su bandeja de entrada y validar el enlace para continuar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Confirmación exitosa como condición obligatoria para avanzar en el proceso</a:t>
            </a:r>
          </a:p>
          <a:p>
            <a:pPr>
              <a:lnSpc>
                <a:spcPts val="1400"/>
              </a:lnSpc>
            </a:pPr>
            <a:endParaRPr lang="es-ES" dirty="0">
              <a:solidFill>
                <a:srgbClr val="012169"/>
              </a:solidFill>
            </a:endParaRPr>
          </a:p>
          <a:p>
            <a:pPr>
              <a:lnSpc>
                <a:spcPts val="1400"/>
              </a:lnSpc>
            </a:pPr>
            <a:r>
              <a:rPr lang="es-ES" b="1" dirty="0">
                <a:solidFill>
                  <a:srgbClr val="012169"/>
                </a:solidFill>
              </a:rPr>
              <a:t>COMUNICACIÓN Y GUÍA AL USUARIO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Instrucciones claras para completar la validación desde el correo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Identificación del proceso mediante email recibido (confirmación de solicitud)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Referencia al expediente y acceso directo a la continuación del flujo</a:t>
            </a:r>
          </a:p>
          <a:p>
            <a:pPr>
              <a:lnSpc>
                <a:spcPts val="1400"/>
              </a:lnSpc>
            </a:pPr>
            <a:endParaRPr lang="es-ES" dirty="0">
              <a:solidFill>
                <a:srgbClr val="012169"/>
              </a:solidFill>
            </a:endParaRPr>
          </a:p>
          <a:p>
            <a:pPr>
              <a:lnSpc>
                <a:spcPts val="1400"/>
              </a:lnSpc>
            </a:pPr>
            <a:r>
              <a:rPr lang="es-ES" b="1" dirty="0">
                <a:solidFill>
                  <a:srgbClr val="012169"/>
                </a:solidFill>
              </a:rPr>
              <a:t>GESTIÓN DE INCIDENCIAS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Recomendaciones en caso de no recepción:</a:t>
            </a:r>
          </a:p>
          <a:p>
            <a:pPr marL="371475" lvl="4" indent="-171450" algn="just">
              <a:lnSpc>
                <a:spcPts val="1400"/>
              </a:lnSpc>
              <a:spcAft>
                <a:spcPts val="0"/>
              </a:spcAft>
            </a:pPr>
            <a:r>
              <a:rPr lang="es-ES" sz="1050" b="0" dirty="0">
                <a:solidFill>
                  <a:srgbClr val="012169"/>
                </a:solidFill>
                <a:latin typeface="Trebuchet MS" panose="020B0603020202020204" pitchFamily="34" charset="0"/>
              </a:rPr>
              <a:t>Revisión de carpeta de spam</a:t>
            </a:r>
          </a:p>
          <a:p>
            <a:pPr marL="371475" lvl="4" indent="-171450" algn="just">
              <a:lnSpc>
                <a:spcPts val="1400"/>
              </a:lnSpc>
              <a:spcAft>
                <a:spcPts val="0"/>
              </a:spcAft>
            </a:pPr>
            <a:r>
              <a:rPr lang="es-ES" sz="1050" b="0" dirty="0">
                <a:solidFill>
                  <a:srgbClr val="012169"/>
                </a:solidFill>
                <a:latin typeface="Trebuchet MS" panose="020B0603020202020204" pitchFamily="34" charset="0"/>
              </a:rPr>
              <a:t>Verificación de dirección introducida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Posibilidad de reintentar la validación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Soporte técnico disponible en caso de error</a:t>
            </a:r>
          </a:p>
          <a:p>
            <a:pPr>
              <a:lnSpc>
                <a:spcPts val="1400"/>
              </a:lnSpc>
            </a:pPr>
            <a:endParaRPr lang="es-ES" dirty="0">
              <a:solidFill>
                <a:srgbClr val="012169"/>
              </a:solidFill>
            </a:endParaRPr>
          </a:p>
          <a:p>
            <a:pPr>
              <a:lnSpc>
                <a:spcPts val="1400"/>
              </a:lnSpc>
            </a:pPr>
            <a:r>
              <a:rPr lang="es-ES" b="1" dirty="0">
                <a:solidFill>
                  <a:srgbClr val="012169"/>
                </a:solidFill>
              </a:rPr>
              <a:t>CONFIRMACIÓN DE CANAL VALIDADO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Notificación de correo verificado correctamente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Activación del canal de comunicación principal con el usuario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Paso habilitado hacia la selección de dispositivo e identificación</a:t>
            </a:r>
          </a:p>
        </p:txBody>
      </p:sp>
      <p:grpSp>
        <p:nvGrpSpPr>
          <p:cNvPr id="16" name="Graphic 4">
            <a:extLst>
              <a:ext uri="{FF2B5EF4-FFF2-40B4-BE49-F238E27FC236}">
                <a16:creationId xmlns:a16="http://schemas.microsoft.com/office/drawing/2014/main" id="{59252FF8-7215-0DF3-592C-DB12C5173B12}"/>
              </a:ext>
            </a:extLst>
          </p:cNvPr>
          <p:cNvGrpSpPr/>
          <p:nvPr/>
        </p:nvGrpSpPr>
        <p:grpSpPr>
          <a:xfrm>
            <a:off x="6428636" y="1995040"/>
            <a:ext cx="333811" cy="333500"/>
            <a:chOff x="9887149" y="1402244"/>
            <a:chExt cx="362309" cy="362450"/>
          </a:xfrm>
          <a:solidFill>
            <a:srgbClr val="012169"/>
          </a:solidFill>
        </p:grpSpPr>
        <p:sp>
          <p:nvSpPr>
            <p:cNvPr id="17" name="Graphic 4">
              <a:extLst>
                <a:ext uri="{FF2B5EF4-FFF2-40B4-BE49-F238E27FC236}">
                  <a16:creationId xmlns:a16="http://schemas.microsoft.com/office/drawing/2014/main" id="{08B82851-0F06-402C-9AB4-4034793E8A45}"/>
                </a:ext>
              </a:extLst>
            </p:cNvPr>
            <p:cNvSpPr/>
            <p:nvPr/>
          </p:nvSpPr>
          <p:spPr>
            <a:xfrm>
              <a:off x="9887149" y="1402244"/>
              <a:ext cx="362309" cy="362450"/>
            </a:xfrm>
            <a:custGeom>
              <a:avLst/>
              <a:gdLst>
                <a:gd name="connsiteX0" fmla="*/ 180835 w 362309"/>
                <a:gd name="connsiteY0" fmla="*/ 479 h 362450"/>
                <a:gd name="connsiteX1" fmla="*/ 0 w 362309"/>
                <a:gd name="connsiteY1" fmla="*/ 181784 h 362450"/>
                <a:gd name="connsiteX2" fmla="*/ 181474 w 362309"/>
                <a:gd name="connsiteY2" fmla="*/ 362451 h 362450"/>
                <a:gd name="connsiteX3" fmla="*/ 362309 w 362309"/>
                <a:gd name="connsiteY3" fmla="*/ 181145 h 362450"/>
                <a:gd name="connsiteX4" fmla="*/ 180835 w 362309"/>
                <a:gd name="connsiteY4" fmla="*/ 479 h 362450"/>
                <a:gd name="connsiteX5" fmla="*/ 180835 w 362309"/>
                <a:gd name="connsiteY5" fmla="*/ 479 h 362450"/>
                <a:gd name="connsiteX6" fmla="*/ 180835 w 362309"/>
                <a:gd name="connsiteY6" fmla="*/ 349044 h 362450"/>
                <a:gd name="connsiteX7" fmla="*/ 12780 w 362309"/>
                <a:gd name="connsiteY7" fmla="*/ 180507 h 362450"/>
                <a:gd name="connsiteX8" fmla="*/ 181474 w 362309"/>
                <a:gd name="connsiteY8" fmla="*/ 12608 h 362450"/>
                <a:gd name="connsiteX9" fmla="*/ 349529 w 362309"/>
                <a:gd name="connsiteY9" fmla="*/ 180507 h 362450"/>
                <a:gd name="connsiteX10" fmla="*/ 180835 w 362309"/>
                <a:gd name="connsiteY10" fmla="*/ 349044 h 36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2309" h="362450">
                  <a:moveTo>
                    <a:pt x="180835" y="479"/>
                  </a:moveTo>
                  <a:cubicBezTo>
                    <a:pt x="80513" y="479"/>
                    <a:pt x="0" y="81555"/>
                    <a:pt x="0" y="181784"/>
                  </a:cubicBezTo>
                  <a:cubicBezTo>
                    <a:pt x="0" y="282013"/>
                    <a:pt x="81152" y="362451"/>
                    <a:pt x="181474" y="362451"/>
                  </a:cubicBezTo>
                  <a:cubicBezTo>
                    <a:pt x="281157" y="362451"/>
                    <a:pt x="362309" y="281374"/>
                    <a:pt x="362309" y="181145"/>
                  </a:cubicBezTo>
                  <a:cubicBezTo>
                    <a:pt x="362309" y="80917"/>
                    <a:pt x="281157" y="-160"/>
                    <a:pt x="180835" y="479"/>
                  </a:cubicBezTo>
                  <a:cubicBezTo>
                    <a:pt x="180835" y="-160"/>
                    <a:pt x="180835" y="-160"/>
                    <a:pt x="180835" y="479"/>
                  </a:cubicBezTo>
                  <a:close/>
                  <a:moveTo>
                    <a:pt x="180835" y="349044"/>
                  </a:moveTo>
                  <a:cubicBezTo>
                    <a:pt x="87542" y="349044"/>
                    <a:pt x="12780" y="273713"/>
                    <a:pt x="12780" y="180507"/>
                  </a:cubicBezTo>
                  <a:cubicBezTo>
                    <a:pt x="12780" y="87301"/>
                    <a:pt x="88181" y="12608"/>
                    <a:pt x="181474" y="12608"/>
                  </a:cubicBezTo>
                  <a:cubicBezTo>
                    <a:pt x="274128" y="12608"/>
                    <a:pt x="349529" y="87939"/>
                    <a:pt x="349529" y="180507"/>
                  </a:cubicBezTo>
                  <a:cubicBezTo>
                    <a:pt x="349529" y="274352"/>
                    <a:pt x="274128" y="349044"/>
                    <a:pt x="180835" y="34904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18" name="Graphic 4">
              <a:extLst>
                <a:ext uri="{FF2B5EF4-FFF2-40B4-BE49-F238E27FC236}">
                  <a16:creationId xmlns:a16="http://schemas.microsoft.com/office/drawing/2014/main" id="{1303E5AB-18B7-273C-7485-C016E3C912F9}"/>
                </a:ext>
              </a:extLst>
            </p:cNvPr>
            <p:cNvSpPr/>
            <p:nvPr/>
          </p:nvSpPr>
          <p:spPr>
            <a:xfrm>
              <a:off x="9959355" y="1503590"/>
              <a:ext cx="217896" cy="158961"/>
            </a:xfrm>
            <a:custGeom>
              <a:avLst/>
              <a:gdLst>
                <a:gd name="connsiteX0" fmla="*/ 216619 w 217896"/>
                <a:gd name="connsiteY0" fmla="*/ 4469 h 158961"/>
                <a:gd name="connsiteX1" fmla="*/ 216619 w 217896"/>
                <a:gd name="connsiteY1" fmla="*/ 4469 h 158961"/>
                <a:gd name="connsiteX2" fmla="*/ 216619 w 217896"/>
                <a:gd name="connsiteY2" fmla="*/ 4469 h 158961"/>
                <a:gd name="connsiteX3" fmla="*/ 215341 w 217896"/>
                <a:gd name="connsiteY3" fmla="*/ 2554 h 158961"/>
                <a:gd name="connsiteX4" fmla="*/ 214702 w 217896"/>
                <a:gd name="connsiteY4" fmla="*/ 1915 h 158961"/>
                <a:gd name="connsiteX5" fmla="*/ 213424 w 217896"/>
                <a:gd name="connsiteY5" fmla="*/ 1277 h 158961"/>
                <a:gd name="connsiteX6" fmla="*/ 212785 w 217896"/>
                <a:gd name="connsiteY6" fmla="*/ 638 h 158961"/>
                <a:gd name="connsiteX7" fmla="*/ 210868 w 217896"/>
                <a:gd name="connsiteY7" fmla="*/ 0 h 158961"/>
                <a:gd name="connsiteX8" fmla="*/ 6390 w 217896"/>
                <a:gd name="connsiteY8" fmla="*/ 0 h 158961"/>
                <a:gd name="connsiteX9" fmla="*/ 4473 w 217896"/>
                <a:gd name="connsiteY9" fmla="*/ 638 h 158961"/>
                <a:gd name="connsiteX10" fmla="*/ 3834 w 217896"/>
                <a:gd name="connsiteY10" fmla="*/ 1277 h 158961"/>
                <a:gd name="connsiteX11" fmla="*/ 2556 w 217896"/>
                <a:gd name="connsiteY11" fmla="*/ 1915 h 158961"/>
                <a:gd name="connsiteX12" fmla="*/ 1917 w 217896"/>
                <a:gd name="connsiteY12" fmla="*/ 2554 h 158961"/>
                <a:gd name="connsiteX13" fmla="*/ 639 w 217896"/>
                <a:gd name="connsiteY13" fmla="*/ 3830 h 158961"/>
                <a:gd name="connsiteX14" fmla="*/ 639 w 217896"/>
                <a:gd name="connsiteY14" fmla="*/ 4469 h 158961"/>
                <a:gd name="connsiteX15" fmla="*/ 639 w 217896"/>
                <a:gd name="connsiteY15" fmla="*/ 4469 h 158961"/>
                <a:gd name="connsiteX16" fmla="*/ 0 w 217896"/>
                <a:gd name="connsiteY16" fmla="*/ 6384 h 158961"/>
                <a:gd name="connsiteX17" fmla="*/ 0 w 217896"/>
                <a:gd name="connsiteY17" fmla="*/ 6384 h 158961"/>
                <a:gd name="connsiteX18" fmla="*/ 0 w 217896"/>
                <a:gd name="connsiteY18" fmla="*/ 152577 h 158961"/>
                <a:gd name="connsiteX19" fmla="*/ 639 w 217896"/>
                <a:gd name="connsiteY19" fmla="*/ 155131 h 158961"/>
                <a:gd name="connsiteX20" fmla="*/ 6390 w 217896"/>
                <a:gd name="connsiteY20" fmla="*/ 158961 h 158961"/>
                <a:gd name="connsiteX21" fmla="*/ 210868 w 217896"/>
                <a:gd name="connsiteY21" fmla="*/ 158961 h 158961"/>
                <a:gd name="connsiteX22" fmla="*/ 213424 w 217896"/>
                <a:gd name="connsiteY22" fmla="*/ 158323 h 158961"/>
                <a:gd name="connsiteX23" fmla="*/ 217258 w 217896"/>
                <a:gd name="connsiteY23" fmla="*/ 155131 h 158961"/>
                <a:gd name="connsiteX24" fmla="*/ 217897 w 217896"/>
                <a:gd name="connsiteY24" fmla="*/ 152577 h 158961"/>
                <a:gd name="connsiteX25" fmla="*/ 217897 w 217896"/>
                <a:gd name="connsiteY25" fmla="*/ 6384 h 158961"/>
                <a:gd name="connsiteX26" fmla="*/ 216619 w 217896"/>
                <a:gd name="connsiteY26" fmla="*/ 4469 h 158961"/>
                <a:gd name="connsiteX27" fmla="*/ 82430 w 217896"/>
                <a:gd name="connsiteY27" fmla="*/ 86184 h 158961"/>
                <a:gd name="connsiteX28" fmla="*/ 104156 w 217896"/>
                <a:gd name="connsiteY28" fmla="*/ 106613 h 158961"/>
                <a:gd name="connsiteX29" fmla="*/ 108629 w 217896"/>
                <a:gd name="connsiteY29" fmla="*/ 108528 h 158961"/>
                <a:gd name="connsiteX30" fmla="*/ 113102 w 217896"/>
                <a:gd name="connsiteY30" fmla="*/ 106613 h 158961"/>
                <a:gd name="connsiteX31" fmla="*/ 134828 w 217896"/>
                <a:gd name="connsiteY31" fmla="*/ 86184 h 158961"/>
                <a:gd name="connsiteX32" fmla="*/ 195532 w 217896"/>
                <a:gd name="connsiteY32" fmla="*/ 146832 h 158961"/>
                <a:gd name="connsiteX33" fmla="*/ 21726 w 217896"/>
                <a:gd name="connsiteY33" fmla="*/ 146832 h 158961"/>
                <a:gd name="connsiteX34" fmla="*/ 82430 w 217896"/>
                <a:gd name="connsiteY34" fmla="*/ 86184 h 158961"/>
                <a:gd name="connsiteX35" fmla="*/ 12780 w 217896"/>
                <a:gd name="connsiteY35" fmla="*/ 137256 h 158961"/>
                <a:gd name="connsiteX36" fmla="*/ 12780 w 217896"/>
                <a:gd name="connsiteY36" fmla="*/ 21067 h 158961"/>
                <a:gd name="connsiteX37" fmla="*/ 72845 w 217896"/>
                <a:gd name="connsiteY37" fmla="*/ 77246 h 158961"/>
                <a:gd name="connsiteX38" fmla="*/ 12780 w 217896"/>
                <a:gd name="connsiteY38" fmla="*/ 137256 h 158961"/>
                <a:gd name="connsiteX39" fmla="*/ 144412 w 217896"/>
                <a:gd name="connsiteY39" fmla="*/ 77246 h 158961"/>
                <a:gd name="connsiteX40" fmla="*/ 204478 w 217896"/>
                <a:gd name="connsiteY40" fmla="*/ 21706 h 158961"/>
                <a:gd name="connsiteX41" fmla="*/ 204478 w 217896"/>
                <a:gd name="connsiteY41" fmla="*/ 137894 h 158961"/>
                <a:gd name="connsiteX42" fmla="*/ 144412 w 217896"/>
                <a:gd name="connsiteY42" fmla="*/ 77246 h 158961"/>
                <a:gd name="connsiteX43" fmla="*/ 194893 w 217896"/>
                <a:gd name="connsiteY43" fmla="*/ 13406 h 158961"/>
                <a:gd name="connsiteX44" fmla="*/ 108629 w 217896"/>
                <a:gd name="connsiteY44" fmla="*/ 93206 h 158961"/>
                <a:gd name="connsiteX45" fmla="*/ 22365 w 217896"/>
                <a:gd name="connsiteY45" fmla="*/ 13406 h 158961"/>
                <a:gd name="connsiteX46" fmla="*/ 194893 w 217896"/>
                <a:gd name="connsiteY46" fmla="*/ 13406 h 158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17896" h="158961">
                  <a:moveTo>
                    <a:pt x="216619" y="4469"/>
                  </a:moveTo>
                  <a:lnTo>
                    <a:pt x="216619" y="4469"/>
                  </a:lnTo>
                  <a:lnTo>
                    <a:pt x="216619" y="4469"/>
                  </a:lnTo>
                  <a:cubicBezTo>
                    <a:pt x="216619" y="3830"/>
                    <a:pt x="215980" y="3192"/>
                    <a:pt x="215341" y="2554"/>
                  </a:cubicBezTo>
                  <a:lnTo>
                    <a:pt x="214702" y="1915"/>
                  </a:lnTo>
                  <a:cubicBezTo>
                    <a:pt x="214063" y="1277"/>
                    <a:pt x="214063" y="1277"/>
                    <a:pt x="213424" y="1277"/>
                  </a:cubicBezTo>
                  <a:cubicBezTo>
                    <a:pt x="213424" y="1277"/>
                    <a:pt x="212785" y="1277"/>
                    <a:pt x="212785" y="638"/>
                  </a:cubicBezTo>
                  <a:cubicBezTo>
                    <a:pt x="212146" y="638"/>
                    <a:pt x="211507" y="0"/>
                    <a:pt x="210868" y="0"/>
                  </a:cubicBezTo>
                  <a:lnTo>
                    <a:pt x="6390" y="0"/>
                  </a:lnTo>
                  <a:cubicBezTo>
                    <a:pt x="5751" y="0"/>
                    <a:pt x="5112" y="0"/>
                    <a:pt x="4473" y="638"/>
                  </a:cubicBezTo>
                  <a:lnTo>
                    <a:pt x="3834" y="1277"/>
                  </a:lnTo>
                  <a:cubicBezTo>
                    <a:pt x="3195" y="1277"/>
                    <a:pt x="3195" y="1915"/>
                    <a:pt x="2556" y="1915"/>
                  </a:cubicBezTo>
                  <a:lnTo>
                    <a:pt x="1917" y="2554"/>
                  </a:lnTo>
                  <a:cubicBezTo>
                    <a:pt x="1278" y="3192"/>
                    <a:pt x="1278" y="3192"/>
                    <a:pt x="639" y="3830"/>
                  </a:cubicBezTo>
                  <a:lnTo>
                    <a:pt x="639" y="4469"/>
                  </a:lnTo>
                  <a:lnTo>
                    <a:pt x="639" y="4469"/>
                  </a:lnTo>
                  <a:cubicBezTo>
                    <a:pt x="639" y="5107"/>
                    <a:pt x="0" y="5746"/>
                    <a:pt x="0" y="6384"/>
                  </a:cubicBezTo>
                  <a:lnTo>
                    <a:pt x="0" y="6384"/>
                  </a:lnTo>
                  <a:lnTo>
                    <a:pt x="0" y="152577"/>
                  </a:lnTo>
                  <a:cubicBezTo>
                    <a:pt x="0" y="153216"/>
                    <a:pt x="0" y="154492"/>
                    <a:pt x="639" y="155131"/>
                  </a:cubicBezTo>
                  <a:cubicBezTo>
                    <a:pt x="1917" y="157684"/>
                    <a:pt x="3834" y="158961"/>
                    <a:pt x="6390" y="158961"/>
                  </a:cubicBezTo>
                  <a:lnTo>
                    <a:pt x="210868" y="158961"/>
                  </a:lnTo>
                  <a:cubicBezTo>
                    <a:pt x="211507" y="158961"/>
                    <a:pt x="212785" y="158961"/>
                    <a:pt x="213424" y="158323"/>
                  </a:cubicBezTo>
                  <a:cubicBezTo>
                    <a:pt x="214702" y="157684"/>
                    <a:pt x="215980" y="156408"/>
                    <a:pt x="217258" y="155131"/>
                  </a:cubicBezTo>
                  <a:cubicBezTo>
                    <a:pt x="217258" y="154492"/>
                    <a:pt x="217897" y="153854"/>
                    <a:pt x="217897" y="152577"/>
                  </a:cubicBezTo>
                  <a:lnTo>
                    <a:pt x="217897" y="6384"/>
                  </a:lnTo>
                  <a:cubicBezTo>
                    <a:pt x="217897" y="5746"/>
                    <a:pt x="217258" y="5107"/>
                    <a:pt x="216619" y="4469"/>
                  </a:cubicBezTo>
                  <a:close/>
                  <a:moveTo>
                    <a:pt x="82430" y="86184"/>
                  </a:moveTo>
                  <a:lnTo>
                    <a:pt x="104156" y="106613"/>
                  </a:lnTo>
                  <a:cubicBezTo>
                    <a:pt x="105434" y="107889"/>
                    <a:pt x="106712" y="108528"/>
                    <a:pt x="108629" y="108528"/>
                  </a:cubicBezTo>
                  <a:cubicBezTo>
                    <a:pt x="110546" y="108528"/>
                    <a:pt x="111824" y="107889"/>
                    <a:pt x="113102" y="106613"/>
                  </a:cubicBezTo>
                  <a:lnTo>
                    <a:pt x="134828" y="86184"/>
                  </a:lnTo>
                  <a:lnTo>
                    <a:pt x="195532" y="146832"/>
                  </a:lnTo>
                  <a:lnTo>
                    <a:pt x="21726" y="146832"/>
                  </a:lnTo>
                  <a:lnTo>
                    <a:pt x="82430" y="86184"/>
                  </a:lnTo>
                  <a:close/>
                  <a:moveTo>
                    <a:pt x="12780" y="137256"/>
                  </a:moveTo>
                  <a:lnTo>
                    <a:pt x="12780" y="21067"/>
                  </a:lnTo>
                  <a:lnTo>
                    <a:pt x="72845" y="77246"/>
                  </a:lnTo>
                  <a:lnTo>
                    <a:pt x="12780" y="137256"/>
                  </a:lnTo>
                  <a:close/>
                  <a:moveTo>
                    <a:pt x="144412" y="77246"/>
                  </a:moveTo>
                  <a:lnTo>
                    <a:pt x="204478" y="21706"/>
                  </a:lnTo>
                  <a:lnTo>
                    <a:pt x="204478" y="137894"/>
                  </a:lnTo>
                  <a:lnTo>
                    <a:pt x="144412" y="77246"/>
                  </a:lnTo>
                  <a:close/>
                  <a:moveTo>
                    <a:pt x="194893" y="13406"/>
                  </a:moveTo>
                  <a:lnTo>
                    <a:pt x="108629" y="93206"/>
                  </a:lnTo>
                  <a:lnTo>
                    <a:pt x="22365" y="13406"/>
                  </a:lnTo>
                  <a:lnTo>
                    <a:pt x="194893" y="1340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</p:grpSp>
      <p:grpSp>
        <p:nvGrpSpPr>
          <p:cNvPr id="28" name="Graphic 4">
            <a:extLst>
              <a:ext uri="{FF2B5EF4-FFF2-40B4-BE49-F238E27FC236}">
                <a16:creationId xmlns:a16="http://schemas.microsoft.com/office/drawing/2014/main" id="{9F82FC1A-B839-2403-3C2F-656DC2637186}"/>
              </a:ext>
            </a:extLst>
          </p:cNvPr>
          <p:cNvGrpSpPr/>
          <p:nvPr/>
        </p:nvGrpSpPr>
        <p:grpSpPr>
          <a:xfrm>
            <a:off x="6428636" y="3248292"/>
            <a:ext cx="333811" cy="333500"/>
            <a:chOff x="467104" y="3824168"/>
            <a:chExt cx="362309" cy="361971"/>
          </a:xfrm>
          <a:solidFill>
            <a:srgbClr val="012169"/>
          </a:solidFill>
        </p:grpSpPr>
        <p:sp>
          <p:nvSpPr>
            <p:cNvPr id="29" name="Graphic 4">
              <a:extLst>
                <a:ext uri="{FF2B5EF4-FFF2-40B4-BE49-F238E27FC236}">
                  <a16:creationId xmlns:a16="http://schemas.microsoft.com/office/drawing/2014/main" id="{326D7214-EA7E-9CA0-4C3B-CFE3CE0C5866}"/>
                </a:ext>
              </a:extLst>
            </p:cNvPr>
            <p:cNvSpPr/>
            <p:nvPr/>
          </p:nvSpPr>
          <p:spPr>
            <a:xfrm>
              <a:off x="467104" y="3824168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1474 w 362309"/>
                <a:gd name="connsiteY2" fmla="*/ 361971 h 361971"/>
                <a:gd name="connsiteX3" fmla="*/ 362309 w 362309"/>
                <a:gd name="connsiteY3" fmla="*/ 180667 h 361971"/>
                <a:gd name="connsiteX4" fmla="*/ 362309 w 362309"/>
                <a:gd name="connsiteY4" fmla="*/ 180667 h 361971"/>
                <a:gd name="connsiteX5" fmla="*/ 181474 w 362309"/>
                <a:gd name="connsiteY5" fmla="*/ 0 h 361971"/>
                <a:gd name="connsiteX6" fmla="*/ 181474 w 362309"/>
                <a:gd name="connsiteY6" fmla="*/ 349204 h 361971"/>
                <a:gd name="connsiteX7" fmla="*/ 13419 w 362309"/>
                <a:gd name="connsiteY7" fmla="*/ 181305 h 361971"/>
                <a:gd name="connsiteX8" fmla="*/ 181474 w 362309"/>
                <a:gd name="connsiteY8" fmla="*/ 12768 h 361971"/>
                <a:gd name="connsiteX9" fmla="*/ 349530 w 362309"/>
                <a:gd name="connsiteY9" fmla="*/ 181305 h 361971"/>
                <a:gd name="connsiteX10" fmla="*/ 349530 w 362309"/>
                <a:gd name="connsiteY10" fmla="*/ 181305 h 361971"/>
                <a:gd name="connsiteX11" fmla="*/ 181474 w 362309"/>
                <a:gd name="connsiteY11" fmla="*/ 349204 h 361971"/>
                <a:gd name="connsiteX12" fmla="*/ 181474 w 362309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6"/>
                    <a:pt x="0" y="180667"/>
                  </a:cubicBezTo>
                  <a:cubicBezTo>
                    <a:pt x="0" y="280895"/>
                    <a:pt x="81152" y="361971"/>
                    <a:pt x="181474" y="361971"/>
                  </a:cubicBezTo>
                  <a:cubicBezTo>
                    <a:pt x="281796" y="361971"/>
                    <a:pt x="362309" y="280895"/>
                    <a:pt x="362309" y="180667"/>
                  </a:cubicBezTo>
                  <a:lnTo>
                    <a:pt x="362309" y="180667"/>
                  </a:lnTo>
                  <a:cubicBezTo>
                    <a:pt x="362309" y="81076"/>
                    <a:pt x="281157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3419" y="273873"/>
                    <a:pt x="13419" y="181305"/>
                  </a:cubicBezTo>
                  <a:cubicBezTo>
                    <a:pt x="13419" y="88099"/>
                    <a:pt x="88820" y="12768"/>
                    <a:pt x="181474" y="12768"/>
                  </a:cubicBezTo>
                  <a:cubicBezTo>
                    <a:pt x="274128" y="12768"/>
                    <a:pt x="349530" y="88099"/>
                    <a:pt x="349530" y="181305"/>
                  </a:cubicBezTo>
                  <a:lnTo>
                    <a:pt x="349530" y="181305"/>
                  </a:lnTo>
                  <a:cubicBezTo>
                    <a:pt x="349530" y="273873"/>
                    <a:pt x="274128" y="349204"/>
                    <a:pt x="181474" y="349204"/>
                  </a:cubicBezTo>
                  <a:lnTo>
                    <a:pt x="181474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30" name="Graphic 4">
              <a:extLst>
                <a:ext uri="{FF2B5EF4-FFF2-40B4-BE49-F238E27FC236}">
                  <a16:creationId xmlns:a16="http://schemas.microsoft.com/office/drawing/2014/main" id="{6715AD65-A223-7707-6424-F5CDA5EBF1C7}"/>
                </a:ext>
              </a:extLst>
            </p:cNvPr>
            <p:cNvSpPr/>
            <p:nvPr/>
          </p:nvSpPr>
          <p:spPr>
            <a:xfrm>
              <a:off x="567742" y="3894950"/>
              <a:ext cx="161348" cy="220965"/>
            </a:xfrm>
            <a:custGeom>
              <a:avLst/>
              <a:gdLst>
                <a:gd name="connsiteX0" fmla="*/ 143457 w 161348"/>
                <a:gd name="connsiteY0" fmla="*/ 12848 h 220965"/>
                <a:gd name="connsiteX1" fmla="*/ 143457 w 161348"/>
                <a:gd name="connsiteY1" fmla="*/ 12848 h 220965"/>
                <a:gd name="connsiteX2" fmla="*/ 154959 w 161348"/>
                <a:gd name="connsiteY2" fmla="*/ 12848 h 220965"/>
                <a:gd name="connsiteX3" fmla="*/ 161349 w 161348"/>
                <a:gd name="connsiteY3" fmla="*/ 6464 h 220965"/>
                <a:gd name="connsiteX4" fmla="*/ 154959 w 161348"/>
                <a:gd name="connsiteY4" fmla="*/ 80 h 220965"/>
                <a:gd name="connsiteX5" fmla="*/ 29716 w 161348"/>
                <a:gd name="connsiteY5" fmla="*/ 80 h 220965"/>
                <a:gd name="connsiteX6" fmla="*/ 7351 w 161348"/>
                <a:gd name="connsiteY6" fmla="*/ 9018 h 220965"/>
                <a:gd name="connsiteX7" fmla="*/ 323 w 161348"/>
                <a:gd name="connsiteY7" fmla="*/ 35192 h 220965"/>
                <a:gd name="connsiteX8" fmla="*/ 323 w 161348"/>
                <a:gd name="connsiteY8" fmla="*/ 196068 h 220965"/>
                <a:gd name="connsiteX9" fmla="*/ 7351 w 161348"/>
                <a:gd name="connsiteY9" fmla="*/ 213944 h 220965"/>
                <a:gd name="connsiteX10" fmla="*/ 25882 w 161348"/>
                <a:gd name="connsiteY10" fmla="*/ 220966 h 220965"/>
                <a:gd name="connsiteX11" fmla="*/ 154320 w 161348"/>
                <a:gd name="connsiteY11" fmla="*/ 220966 h 220965"/>
                <a:gd name="connsiteX12" fmla="*/ 160710 w 161348"/>
                <a:gd name="connsiteY12" fmla="*/ 214582 h 220965"/>
                <a:gd name="connsiteX13" fmla="*/ 160710 w 161348"/>
                <a:gd name="connsiteY13" fmla="*/ 44130 h 220965"/>
                <a:gd name="connsiteX14" fmla="*/ 154320 w 161348"/>
                <a:gd name="connsiteY14" fmla="*/ 37746 h 220965"/>
                <a:gd name="connsiteX15" fmla="*/ 142818 w 161348"/>
                <a:gd name="connsiteY15" fmla="*/ 37746 h 220965"/>
                <a:gd name="connsiteX16" fmla="*/ 143457 w 161348"/>
                <a:gd name="connsiteY16" fmla="*/ 12848 h 220965"/>
                <a:gd name="connsiteX17" fmla="*/ 147930 w 161348"/>
                <a:gd name="connsiteY17" fmla="*/ 207560 h 220965"/>
                <a:gd name="connsiteX18" fmla="*/ 26521 w 161348"/>
                <a:gd name="connsiteY18" fmla="*/ 207560 h 220965"/>
                <a:gd name="connsiteX19" fmla="*/ 15658 w 161348"/>
                <a:gd name="connsiteY19" fmla="*/ 204368 h 220965"/>
                <a:gd name="connsiteX20" fmla="*/ 12463 w 161348"/>
                <a:gd name="connsiteY20" fmla="*/ 196068 h 220965"/>
                <a:gd name="connsiteX21" fmla="*/ 12463 w 161348"/>
                <a:gd name="connsiteY21" fmla="*/ 47960 h 220965"/>
                <a:gd name="connsiteX22" fmla="*/ 25882 w 161348"/>
                <a:gd name="connsiteY22" fmla="*/ 51152 h 220965"/>
                <a:gd name="connsiteX23" fmla="*/ 147291 w 161348"/>
                <a:gd name="connsiteY23" fmla="*/ 51152 h 220965"/>
                <a:gd name="connsiteX24" fmla="*/ 147291 w 161348"/>
                <a:gd name="connsiteY24" fmla="*/ 207560 h 220965"/>
                <a:gd name="connsiteX25" fmla="*/ 26521 w 161348"/>
                <a:gd name="connsiteY25" fmla="*/ 37746 h 220965"/>
                <a:gd name="connsiteX26" fmla="*/ 13102 w 161348"/>
                <a:gd name="connsiteY26" fmla="*/ 27531 h 220965"/>
                <a:gd name="connsiteX27" fmla="*/ 13102 w 161348"/>
                <a:gd name="connsiteY27" fmla="*/ 26893 h 220965"/>
                <a:gd name="connsiteX28" fmla="*/ 13102 w 161348"/>
                <a:gd name="connsiteY28" fmla="*/ 26893 h 220965"/>
                <a:gd name="connsiteX29" fmla="*/ 16936 w 161348"/>
                <a:gd name="connsiteY29" fmla="*/ 17955 h 220965"/>
                <a:gd name="connsiteX30" fmla="*/ 29716 w 161348"/>
                <a:gd name="connsiteY30" fmla="*/ 13486 h 220965"/>
                <a:gd name="connsiteX31" fmla="*/ 128760 w 161348"/>
                <a:gd name="connsiteY31" fmla="*/ 13486 h 220965"/>
                <a:gd name="connsiteX32" fmla="*/ 128760 w 161348"/>
                <a:gd name="connsiteY32" fmla="*/ 38384 h 220965"/>
                <a:gd name="connsiteX33" fmla="*/ 26521 w 161348"/>
                <a:gd name="connsiteY33" fmla="*/ 37746 h 22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61348" h="220965">
                  <a:moveTo>
                    <a:pt x="143457" y="12848"/>
                  </a:moveTo>
                  <a:lnTo>
                    <a:pt x="143457" y="12848"/>
                  </a:lnTo>
                  <a:lnTo>
                    <a:pt x="154959" y="12848"/>
                  </a:lnTo>
                  <a:cubicBezTo>
                    <a:pt x="158793" y="12848"/>
                    <a:pt x="161349" y="10294"/>
                    <a:pt x="161349" y="6464"/>
                  </a:cubicBezTo>
                  <a:cubicBezTo>
                    <a:pt x="161349" y="2634"/>
                    <a:pt x="158793" y="80"/>
                    <a:pt x="154959" y="80"/>
                  </a:cubicBezTo>
                  <a:lnTo>
                    <a:pt x="29716" y="80"/>
                  </a:lnTo>
                  <a:cubicBezTo>
                    <a:pt x="21409" y="-558"/>
                    <a:pt x="13102" y="2634"/>
                    <a:pt x="7351" y="9018"/>
                  </a:cubicBezTo>
                  <a:cubicBezTo>
                    <a:pt x="1600" y="16678"/>
                    <a:pt x="-955" y="26254"/>
                    <a:pt x="323" y="35192"/>
                  </a:cubicBezTo>
                  <a:lnTo>
                    <a:pt x="323" y="196068"/>
                  </a:lnTo>
                  <a:cubicBezTo>
                    <a:pt x="-316" y="203091"/>
                    <a:pt x="2879" y="209475"/>
                    <a:pt x="7351" y="213944"/>
                  </a:cubicBezTo>
                  <a:cubicBezTo>
                    <a:pt x="12463" y="218412"/>
                    <a:pt x="19492" y="220966"/>
                    <a:pt x="25882" y="220966"/>
                  </a:cubicBezTo>
                  <a:lnTo>
                    <a:pt x="154320" y="220966"/>
                  </a:lnTo>
                  <a:cubicBezTo>
                    <a:pt x="158154" y="220966"/>
                    <a:pt x="160710" y="218412"/>
                    <a:pt x="160710" y="214582"/>
                  </a:cubicBezTo>
                  <a:lnTo>
                    <a:pt x="160710" y="44130"/>
                  </a:lnTo>
                  <a:cubicBezTo>
                    <a:pt x="160710" y="40299"/>
                    <a:pt x="158154" y="37746"/>
                    <a:pt x="154320" y="37746"/>
                  </a:cubicBezTo>
                  <a:lnTo>
                    <a:pt x="142818" y="37746"/>
                  </a:lnTo>
                  <a:cubicBezTo>
                    <a:pt x="137067" y="30085"/>
                    <a:pt x="137067" y="19870"/>
                    <a:pt x="143457" y="12848"/>
                  </a:cubicBezTo>
                  <a:close/>
                  <a:moveTo>
                    <a:pt x="147930" y="207560"/>
                  </a:moveTo>
                  <a:lnTo>
                    <a:pt x="26521" y="207560"/>
                  </a:lnTo>
                  <a:cubicBezTo>
                    <a:pt x="22687" y="207560"/>
                    <a:pt x="18853" y="206283"/>
                    <a:pt x="15658" y="204368"/>
                  </a:cubicBezTo>
                  <a:cubicBezTo>
                    <a:pt x="13741" y="201814"/>
                    <a:pt x="12463" y="199260"/>
                    <a:pt x="12463" y="196068"/>
                  </a:cubicBezTo>
                  <a:lnTo>
                    <a:pt x="12463" y="47960"/>
                  </a:lnTo>
                  <a:cubicBezTo>
                    <a:pt x="16936" y="49875"/>
                    <a:pt x="21409" y="51152"/>
                    <a:pt x="25882" y="51152"/>
                  </a:cubicBezTo>
                  <a:lnTo>
                    <a:pt x="147291" y="51152"/>
                  </a:lnTo>
                  <a:lnTo>
                    <a:pt x="147291" y="207560"/>
                  </a:lnTo>
                  <a:close/>
                  <a:moveTo>
                    <a:pt x="26521" y="37746"/>
                  </a:moveTo>
                  <a:cubicBezTo>
                    <a:pt x="20131" y="38384"/>
                    <a:pt x="14380" y="33915"/>
                    <a:pt x="13102" y="27531"/>
                  </a:cubicBezTo>
                  <a:cubicBezTo>
                    <a:pt x="13102" y="27531"/>
                    <a:pt x="13102" y="26893"/>
                    <a:pt x="13102" y="26893"/>
                  </a:cubicBezTo>
                  <a:lnTo>
                    <a:pt x="13102" y="26893"/>
                  </a:lnTo>
                  <a:cubicBezTo>
                    <a:pt x="13741" y="23701"/>
                    <a:pt x="15019" y="20509"/>
                    <a:pt x="16936" y="17955"/>
                  </a:cubicBezTo>
                  <a:cubicBezTo>
                    <a:pt x="20131" y="14763"/>
                    <a:pt x="25243" y="12848"/>
                    <a:pt x="29716" y="13486"/>
                  </a:cubicBezTo>
                  <a:lnTo>
                    <a:pt x="128760" y="13486"/>
                  </a:lnTo>
                  <a:cubicBezTo>
                    <a:pt x="124926" y="21147"/>
                    <a:pt x="124926" y="30723"/>
                    <a:pt x="128760" y="38384"/>
                  </a:cubicBezTo>
                  <a:lnTo>
                    <a:pt x="26521" y="3774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31" name="Graphic 4">
              <a:extLst>
                <a:ext uri="{FF2B5EF4-FFF2-40B4-BE49-F238E27FC236}">
                  <a16:creationId xmlns:a16="http://schemas.microsoft.com/office/drawing/2014/main" id="{DEB949DB-4873-6BEE-0CFD-1D95DFE60585}"/>
                </a:ext>
              </a:extLst>
            </p:cNvPr>
            <p:cNvSpPr/>
            <p:nvPr/>
          </p:nvSpPr>
          <p:spPr>
            <a:xfrm>
              <a:off x="596820" y="3973097"/>
              <a:ext cx="103836" cy="103692"/>
            </a:xfrm>
            <a:custGeom>
              <a:avLst/>
              <a:gdLst>
                <a:gd name="connsiteX0" fmla="*/ 0 w 103836"/>
                <a:gd name="connsiteY0" fmla="*/ 51527 h 103692"/>
                <a:gd name="connsiteX1" fmla="*/ 3195 w 103836"/>
                <a:gd name="connsiteY1" fmla="*/ 68764 h 103692"/>
                <a:gd name="connsiteX2" fmla="*/ 3195 w 103836"/>
                <a:gd name="connsiteY2" fmla="*/ 69402 h 103692"/>
                <a:gd name="connsiteX3" fmla="*/ 69650 w 103836"/>
                <a:gd name="connsiteY3" fmla="*/ 100684 h 103692"/>
                <a:gd name="connsiteX4" fmla="*/ 100961 w 103836"/>
                <a:gd name="connsiteY4" fmla="*/ 69402 h 103692"/>
                <a:gd name="connsiteX5" fmla="*/ 100961 w 103836"/>
                <a:gd name="connsiteY5" fmla="*/ 68764 h 103692"/>
                <a:gd name="connsiteX6" fmla="*/ 100961 w 103836"/>
                <a:gd name="connsiteY6" fmla="*/ 34290 h 103692"/>
                <a:gd name="connsiteX7" fmla="*/ 100961 w 103836"/>
                <a:gd name="connsiteY7" fmla="*/ 34290 h 103692"/>
                <a:gd name="connsiteX8" fmla="*/ 34506 w 103836"/>
                <a:gd name="connsiteY8" fmla="*/ 3009 h 103692"/>
                <a:gd name="connsiteX9" fmla="*/ 3195 w 103836"/>
                <a:gd name="connsiteY9" fmla="*/ 34290 h 103692"/>
                <a:gd name="connsiteX10" fmla="*/ 3195 w 103836"/>
                <a:gd name="connsiteY10" fmla="*/ 34929 h 103692"/>
                <a:gd name="connsiteX11" fmla="*/ 0 w 103836"/>
                <a:gd name="connsiteY11" fmla="*/ 51527 h 103692"/>
                <a:gd name="connsiteX12" fmla="*/ 93932 w 103836"/>
                <a:gd name="connsiteY12" fmla="*/ 51527 h 103692"/>
                <a:gd name="connsiteX13" fmla="*/ 92654 w 103836"/>
                <a:gd name="connsiteY13" fmla="*/ 62380 h 103692"/>
                <a:gd name="connsiteX14" fmla="*/ 81152 w 103836"/>
                <a:gd name="connsiteY14" fmla="*/ 62380 h 103692"/>
                <a:gd name="connsiteX15" fmla="*/ 81152 w 103836"/>
                <a:gd name="connsiteY15" fmla="*/ 40674 h 103692"/>
                <a:gd name="connsiteX16" fmla="*/ 92654 w 103836"/>
                <a:gd name="connsiteY16" fmla="*/ 40674 h 103692"/>
                <a:gd name="connsiteX17" fmla="*/ 93932 w 103836"/>
                <a:gd name="connsiteY17" fmla="*/ 51527 h 103692"/>
                <a:gd name="connsiteX18" fmla="*/ 72206 w 103836"/>
                <a:gd name="connsiteY18" fmla="*/ 51527 h 103692"/>
                <a:gd name="connsiteX19" fmla="*/ 71567 w 103836"/>
                <a:gd name="connsiteY19" fmla="*/ 62380 h 103692"/>
                <a:gd name="connsiteX20" fmla="*/ 56231 w 103836"/>
                <a:gd name="connsiteY20" fmla="*/ 62380 h 103692"/>
                <a:gd name="connsiteX21" fmla="*/ 56231 w 103836"/>
                <a:gd name="connsiteY21" fmla="*/ 40674 h 103692"/>
                <a:gd name="connsiteX22" fmla="*/ 71567 w 103836"/>
                <a:gd name="connsiteY22" fmla="*/ 40674 h 103692"/>
                <a:gd name="connsiteX23" fmla="*/ 72206 w 103836"/>
                <a:gd name="connsiteY23" fmla="*/ 51527 h 103692"/>
                <a:gd name="connsiteX24" fmla="*/ 33867 w 103836"/>
                <a:gd name="connsiteY24" fmla="*/ 71956 h 103692"/>
                <a:gd name="connsiteX25" fmla="*/ 47286 w 103836"/>
                <a:gd name="connsiteY25" fmla="*/ 71956 h 103692"/>
                <a:gd name="connsiteX26" fmla="*/ 47286 w 103836"/>
                <a:gd name="connsiteY26" fmla="*/ 92385 h 103692"/>
                <a:gd name="connsiteX27" fmla="*/ 33867 w 103836"/>
                <a:gd name="connsiteY27" fmla="*/ 71956 h 103692"/>
                <a:gd name="connsiteX28" fmla="*/ 56231 w 103836"/>
                <a:gd name="connsiteY28" fmla="*/ 92385 h 103692"/>
                <a:gd name="connsiteX29" fmla="*/ 56231 w 103836"/>
                <a:gd name="connsiteY29" fmla="*/ 71956 h 103692"/>
                <a:gd name="connsiteX30" fmla="*/ 69650 w 103836"/>
                <a:gd name="connsiteY30" fmla="*/ 71956 h 103692"/>
                <a:gd name="connsiteX31" fmla="*/ 56231 w 103836"/>
                <a:gd name="connsiteY31" fmla="*/ 92385 h 103692"/>
                <a:gd name="connsiteX32" fmla="*/ 56231 w 103836"/>
                <a:gd name="connsiteY32" fmla="*/ 92385 h 103692"/>
                <a:gd name="connsiteX33" fmla="*/ 56231 w 103836"/>
                <a:gd name="connsiteY33" fmla="*/ 31098 h 103692"/>
                <a:gd name="connsiteX34" fmla="*/ 56231 w 103836"/>
                <a:gd name="connsiteY34" fmla="*/ 10670 h 103692"/>
                <a:gd name="connsiteX35" fmla="*/ 69650 w 103836"/>
                <a:gd name="connsiteY35" fmla="*/ 31098 h 103692"/>
                <a:gd name="connsiteX36" fmla="*/ 56231 w 103836"/>
                <a:gd name="connsiteY36" fmla="*/ 31098 h 103692"/>
                <a:gd name="connsiteX37" fmla="*/ 46647 w 103836"/>
                <a:gd name="connsiteY37" fmla="*/ 10670 h 103692"/>
                <a:gd name="connsiteX38" fmla="*/ 46647 w 103836"/>
                <a:gd name="connsiteY38" fmla="*/ 31098 h 103692"/>
                <a:gd name="connsiteX39" fmla="*/ 33228 w 103836"/>
                <a:gd name="connsiteY39" fmla="*/ 31098 h 103692"/>
                <a:gd name="connsiteX40" fmla="*/ 46647 w 103836"/>
                <a:gd name="connsiteY40" fmla="*/ 10670 h 103692"/>
                <a:gd name="connsiteX41" fmla="*/ 46647 w 103836"/>
                <a:gd name="connsiteY41" fmla="*/ 10670 h 103692"/>
                <a:gd name="connsiteX42" fmla="*/ 46647 w 103836"/>
                <a:gd name="connsiteY42" fmla="*/ 40674 h 103692"/>
                <a:gd name="connsiteX43" fmla="*/ 46647 w 103836"/>
                <a:gd name="connsiteY43" fmla="*/ 62380 h 103692"/>
                <a:gd name="connsiteX44" fmla="*/ 31311 w 103836"/>
                <a:gd name="connsiteY44" fmla="*/ 62380 h 103692"/>
                <a:gd name="connsiteX45" fmla="*/ 31311 w 103836"/>
                <a:gd name="connsiteY45" fmla="*/ 40674 h 103692"/>
                <a:gd name="connsiteX46" fmla="*/ 46647 w 103836"/>
                <a:gd name="connsiteY46" fmla="*/ 40674 h 103692"/>
                <a:gd name="connsiteX47" fmla="*/ 21726 w 103836"/>
                <a:gd name="connsiteY47" fmla="*/ 62380 h 103692"/>
                <a:gd name="connsiteX48" fmla="*/ 10224 w 103836"/>
                <a:gd name="connsiteY48" fmla="*/ 62380 h 103692"/>
                <a:gd name="connsiteX49" fmla="*/ 10224 w 103836"/>
                <a:gd name="connsiteY49" fmla="*/ 40674 h 103692"/>
                <a:gd name="connsiteX50" fmla="*/ 21726 w 103836"/>
                <a:gd name="connsiteY50" fmla="*/ 40674 h 103692"/>
                <a:gd name="connsiteX51" fmla="*/ 21726 w 103836"/>
                <a:gd name="connsiteY51" fmla="*/ 62380 h 103692"/>
                <a:gd name="connsiteX52" fmla="*/ 14697 w 103836"/>
                <a:gd name="connsiteY52" fmla="*/ 71956 h 103692"/>
                <a:gd name="connsiteX53" fmla="*/ 23643 w 103836"/>
                <a:gd name="connsiteY53" fmla="*/ 71956 h 103692"/>
                <a:gd name="connsiteX54" fmla="*/ 29394 w 103836"/>
                <a:gd name="connsiteY54" fmla="*/ 87916 h 103692"/>
                <a:gd name="connsiteX55" fmla="*/ 14697 w 103836"/>
                <a:gd name="connsiteY55" fmla="*/ 71956 h 103692"/>
                <a:gd name="connsiteX56" fmla="*/ 73484 w 103836"/>
                <a:gd name="connsiteY56" fmla="*/ 87916 h 103692"/>
                <a:gd name="connsiteX57" fmla="*/ 79235 w 103836"/>
                <a:gd name="connsiteY57" fmla="*/ 71956 h 103692"/>
                <a:gd name="connsiteX58" fmla="*/ 88181 w 103836"/>
                <a:gd name="connsiteY58" fmla="*/ 71956 h 103692"/>
                <a:gd name="connsiteX59" fmla="*/ 73484 w 103836"/>
                <a:gd name="connsiteY59" fmla="*/ 87916 h 103692"/>
                <a:gd name="connsiteX60" fmla="*/ 73484 w 103836"/>
                <a:gd name="connsiteY60" fmla="*/ 87916 h 103692"/>
                <a:gd name="connsiteX61" fmla="*/ 88820 w 103836"/>
                <a:gd name="connsiteY61" fmla="*/ 31098 h 103692"/>
                <a:gd name="connsiteX62" fmla="*/ 79874 w 103836"/>
                <a:gd name="connsiteY62" fmla="*/ 31098 h 103692"/>
                <a:gd name="connsiteX63" fmla="*/ 74123 w 103836"/>
                <a:gd name="connsiteY63" fmla="*/ 15138 h 103692"/>
                <a:gd name="connsiteX64" fmla="*/ 88820 w 103836"/>
                <a:gd name="connsiteY64" fmla="*/ 31098 h 103692"/>
                <a:gd name="connsiteX65" fmla="*/ 88820 w 103836"/>
                <a:gd name="connsiteY65" fmla="*/ 31098 h 103692"/>
                <a:gd name="connsiteX66" fmla="*/ 30033 w 103836"/>
                <a:gd name="connsiteY66" fmla="*/ 15138 h 103692"/>
                <a:gd name="connsiteX67" fmla="*/ 24282 w 103836"/>
                <a:gd name="connsiteY67" fmla="*/ 31098 h 103692"/>
                <a:gd name="connsiteX68" fmla="*/ 15336 w 103836"/>
                <a:gd name="connsiteY68" fmla="*/ 31098 h 103692"/>
                <a:gd name="connsiteX69" fmla="*/ 30033 w 103836"/>
                <a:gd name="connsiteY69" fmla="*/ 15138 h 103692"/>
                <a:gd name="connsiteX70" fmla="*/ 30033 w 103836"/>
                <a:gd name="connsiteY70" fmla="*/ 15138 h 103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03836" h="103692">
                  <a:moveTo>
                    <a:pt x="0" y="51527"/>
                  </a:moveTo>
                  <a:cubicBezTo>
                    <a:pt x="0" y="57273"/>
                    <a:pt x="1278" y="63018"/>
                    <a:pt x="3195" y="68764"/>
                  </a:cubicBezTo>
                  <a:cubicBezTo>
                    <a:pt x="3195" y="68764"/>
                    <a:pt x="3195" y="68764"/>
                    <a:pt x="3195" y="69402"/>
                  </a:cubicBezTo>
                  <a:cubicBezTo>
                    <a:pt x="12780" y="96215"/>
                    <a:pt x="42813" y="110260"/>
                    <a:pt x="69650" y="100684"/>
                  </a:cubicBezTo>
                  <a:cubicBezTo>
                    <a:pt x="84347" y="95577"/>
                    <a:pt x="95849" y="84086"/>
                    <a:pt x="100961" y="69402"/>
                  </a:cubicBezTo>
                  <a:lnTo>
                    <a:pt x="100961" y="68764"/>
                  </a:lnTo>
                  <a:cubicBezTo>
                    <a:pt x="104795" y="57273"/>
                    <a:pt x="104795" y="45143"/>
                    <a:pt x="100961" y="34290"/>
                  </a:cubicBezTo>
                  <a:lnTo>
                    <a:pt x="100961" y="34290"/>
                  </a:lnTo>
                  <a:cubicBezTo>
                    <a:pt x="91376" y="7478"/>
                    <a:pt x="61343" y="-6567"/>
                    <a:pt x="34506" y="3009"/>
                  </a:cubicBezTo>
                  <a:cubicBezTo>
                    <a:pt x="19809" y="8116"/>
                    <a:pt x="8307" y="19607"/>
                    <a:pt x="3195" y="34290"/>
                  </a:cubicBezTo>
                  <a:cubicBezTo>
                    <a:pt x="3195" y="34290"/>
                    <a:pt x="3195" y="34290"/>
                    <a:pt x="3195" y="34929"/>
                  </a:cubicBezTo>
                  <a:cubicBezTo>
                    <a:pt x="639" y="40036"/>
                    <a:pt x="0" y="45782"/>
                    <a:pt x="0" y="51527"/>
                  </a:cubicBezTo>
                  <a:close/>
                  <a:moveTo>
                    <a:pt x="93932" y="51527"/>
                  </a:moveTo>
                  <a:cubicBezTo>
                    <a:pt x="93932" y="55358"/>
                    <a:pt x="93293" y="59188"/>
                    <a:pt x="92654" y="62380"/>
                  </a:cubicBezTo>
                  <a:lnTo>
                    <a:pt x="81152" y="62380"/>
                  </a:lnTo>
                  <a:cubicBezTo>
                    <a:pt x="81791" y="55358"/>
                    <a:pt x="81791" y="47697"/>
                    <a:pt x="81152" y="40674"/>
                  </a:cubicBezTo>
                  <a:lnTo>
                    <a:pt x="92654" y="40674"/>
                  </a:lnTo>
                  <a:cubicBezTo>
                    <a:pt x="93293" y="43866"/>
                    <a:pt x="93932" y="47697"/>
                    <a:pt x="93932" y="51527"/>
                  </a:cubicBezTo>
                  <a:close/>
                  <a:moveTo>
                    <a:pt x="72206" y="51527"/>
                  </a:moveTo>
                  <a:cubicBezTo>
                    <a:pt x="72206" y="55358"/>
                    <a:pt x="72206" y="58550"/>
                    <a:pt x="71567" y="62380"/>
                  </a:cubicBezTo>
                  <a:lnTo>
                    <a:pt x="56231" y="62380"/>
                  </a:lnTo>
                  <a:lnTo>
                    <a:pt x="56231" y="40674"/>
                  </a:lnTo>
                  <a:lnTo>
                    <a:pt x="71567" y="40674"/>
                  </a:lnTo>
                  <a:cubicBezTo>
                    <a:pt x="72206" y="43866"/>
                    <a:pt x="72206" y="47697"/>
                    <a:pt x="72206" y="51527"/>
                  </a:cubicBezTo>
                  <a:close/>
                  <a:moveTo>
                    <a:pt x="33867" y="71956"/>
                  </a:moveTo>
                  <a:lnTo>
                    <a:pt x="47286" y="71956"/>
                  </a:lnTo>
                  <a:lnTo>
                    <a:pt x="47286" y="92385"/>
                  </a:lnTo>
                  <a:cubicBezTo>
                    <a:pt x="40257" y="87278"/>
                    <a:pt x="35145" y="80255"/>
                    <a:pt x="33867" y="71956"/>
                  </a:cubicBezTo>
                  <a:close/>
                  <a:moveTo>
                    <a:pt x="56231" y="92385"/>
                  </a:moveTo>
                  <a:lnTo>
                    <a:pt x="56231" y="71956"/>
                  </a:lnTo>
                  <a:lnTo>
                    <a:pt x="69650" y="71956"/>
                  </a:lnTo>
                  <a:cubicBezTo>
                    <a:pt x="67733" y="80255"/>
                    <a:pt x="63260" y="87278"/>
                    <a:pt x="56231" y="92385"/>
                  </a:cubicBezTo>
                  <a:lnTo>
                    <a:pt x="56231" y="92385"/>
                  </a:lnTo>
                  <a:close/>
                  <a:moveTo>
                    <a:pt x="56231" y="31098"/>
                  </a:moveTo>
                  <a:lnTo>
                    <a:pt x="56231" y="10670"/>
                  </a:lnTo>
                  <a:cubicBezTo>
                    <a:pt x="63260" y="15777"/>
                    <a:pt x="67733" y="22799"/>
                    <a:pt x="69650" y="31098"/>
                  </a:cubicBezTo>
                  <a:lnTo>
                    <a:pt x="56231" y="31098"/>
                  </a:lnTo>
                  <a:close/>
                  <a:moveTo>
                    <a:pt x="46647" y="10670"/>
                  </a:moveTo>
                  <a:lnTo>
                    <a:pt x="46647" y="31098"/>
                  </a:lnTo>
                  <a:lnTo>
                    <a:pt x="33228" y="31098"/>
                  </a:lnTo>
                  <a:cubicBezTo>
                    <a:pt x="35145" y="22799"/>
                    <a:pt x="40257" y="15138"/>
                    <a:pt x="46647" y="10670"/>
                  </a:cubicBezTo>
                  <a:lnTo>
                    <a:pt x="46647" y="10670"/>
                  </a:lnTo>
                  <a:close/>
                  <a:moveTo>
                    <a:pt x="46647" y="40674"/>
                  </a:moveTo>
                  <a:lnTo>
                    <a:pt x="46647" y="62380"/>
                  </a:lnTo>
                  <a:lnTo>
                    <a:pt x="31311" y="62380"/>
                  </a:lnTo>
                  <a:cubicBezTo>
                    <a:pt x="30672" y="55358"/>
                    <a:pt x="30672" y="47697"/>
                    <a:pt x="31311" y="40674"/>
                  </a:cubicBezTo>
                  <a:lnTo>
                    <a:pt x="46647" y="40674"/>
                  </a:lnTo>
                  <a:close/>
                  <a:moveTo>
                    <a:pt x="21726" y="62380"/>
                  </a:moveTo>
                  <a:lnTo>
                    <a:pt x="10224" y="62380"/>
                  </a:lnTo>
                  <a:cubicBezTo>
                    <a:pt x="8307" y="55358"/>
                    <a:pt x="8307" y="47697"/>
                    <a:pt x="10224" y="40674"/>
                  </a:cubicBezTo>
                  <a:lnTo>
                    <a:pt x="21726" y="40674"/>
                  </a:lnTo>
                  <a:cubicBezTo>
                    <a:pt x="21087" y="47697"/>
                    <a:pt x="21087" y="55358"/>
                    <a:pt x="21726" y="62380"/>
                  </a:cubicBezTo>
                  <a:close/>
                  <a:moveTo>
                    <a:pt x="14697" y="71956"/>
                  </a:moveTo>
                  <a:lnTo>
                    <a:pt x="23643" y="71956"/>
                  </a:lnTo>
                  <a:cubicBezTo>
                    <a:pt x="24921" y="77702"/>
                    <a:pt x="26838" y="82809"/>
                    <a:pt x="29394" y="87916"/>
                  </a:cubicBezTo>
                  <a:cubicBezTo>
                    <a:pt x="23643" y="84086"/>
                    <a:pt x="18531" y="78340"/>
                    <a:pt x="14697" y="71956"/>
                  </a:cubicBezTo>
                  <a:close/>
                  <a:moveTo>
                    <a:pt x="73484" y="87916"/>
                  </a:moveTo>
                  <a:cubicBezTo>
                    <a:pt x="76040" y="82809"/>
                    <a:pt x="77957" y="77702"/>
                    <a:pt x="79235" y="71956"/>
                  </a:cubicBezTo>
                  <a:lnTo>
                    <a:pt x="88181" y="71956"/>
                  </a:lnTo>
                  <a:cubicBezTo>
                    <a:pt x="84986" y="78340"/>
                    <a:pt x="79874" y="83447"/>
                    <a:pt x="73484" y="87916"/>
                  </a:cubicBezTo>
                  <a:lnTo>
                    <a:pt x="73484" y="87916"/>
                  </a:lnTo>
                  <a:close/>
                  <a:moveTo>
                    <a:pt x="88820" y="31098"/>
                  </a:moveTo>
                  <a:lnTo>
                    <a:pt x="79874" y="31098"/>
                  </a:lnTo>
                  <a:cubicBezTo>
                    <a:pt x="78596" y="25353"/>
                    <a:pt x="76679" y="20246"/>
                    <a:pt x="74123" y="15138"/>
                  </a:cubicBezTo>
                  <a:cubicBezTo>
                    <a:pt x="79874" y="18969"/>
                    <a:pt x="84986" y="24714"/>
                    <a:pt x="88820" y="31098"/>
                  </a:cubicBezTo>
                  <a:lnTo>
                    <a:pt x="88820" y="31098"/>
                  </a:lnTo>
                  <a:close/>
                  <a:moveTo>
                    <a:pt x="30033" y="15138"/>
                  </a:moveTo>
                  <a:cubicBezTo>
                    <a:pt x="27477" y="20246"/>
                    <a:pt x="25560" y="25353"/>
                    <a:pt x="24282" y="31098"/>
                  </a:cubicBezTo>
                  <a:lnTo>
                    <a:pt x="15336" y="31098"/>
                  </a:lnTo>
                  <a:cubicBezTo>
                    <a:pt x="18531" y="24714"/>
                    <a:pt x="23643" y="18969"/>
                    <a:pt x="30033" y="15138"/>
                  </a:cubicBezTo>
                  <a:lnTo>
                    <a:pt x="30033" y="1513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</p:grp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4FECD9A-CBAD-7049-83C8-7438C5EAA976}"/>
              </a:ext>
            </a:extLst>
          </p:cNvPr>
          <p:cNvCxnSpPr>
            <a:cxnSpLocks/>
          </p:cNvCxnSpPr>
          <p:nvPr/>
        </p:nvCxnSpPr>
        <p:spPr>
          <a:xfrm>
            <a:off x="6823428" y="3144361"/>
            <a:ext cx="4810125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F954190-A049-E20D-7484-B8150C020484}"/>
              </a:ext>
            </a:extLst>
          </p:cNvPr>
          <p:cNvCxnSpPr>
            <a:cxnSpLocks/>
          </p:cNvCxnSpPr>
          <p:nvPr/>
        </p:nvCxnSpPr>
        <p:spPr>
          <a:xfrm>
            <a:off x="6823428" y="4207616"/>
            <a:ext cx="4810125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B76504A-A547-4F36-9CAB-31200FC3DB2A}"/>
              </a:ext>
            </a:extLst>
          </p:cNvPr>
          <p:cNvCxnSpPr>
            <a:cxnSpLocks/>
          </p:cNvCxnSpPr>
          <p:nvPr/>
        </p:nvCxnSpPr>
        <p:spPr>
          <a:xfrm>
            <a:off x="6823428" y="5441547"/>
            <a:ext cx="4810125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aphic 4">
            <a:extLst>
              <a:ext uri="{FF2B5EF4-FFF2-40B4-BE49-F238E27FC236}">
                <a16:creationId xmlns:a16="http://schemas.microsoft.com/office/drawing/2014/main" id="{7429139D-20D1-D3B7-C105-2636BDB942B1}"/>
              </a:ext>
            </a:extLst>
          </p:cNvPr>
          <p:cNvGrpSpPr>
            <a:grpSpLocks noChangeAspect="1"/>
          </p:cNvGrpSpPr>
          <p:nvPr/>
        </p:nvGrpSpPr>
        <p:grpSpPr>
          <a:xfrm>
            <a:off x="6428635" y="4383923"/>
            <a:ext cx="333813" cy="333500"/>
            <a:chOff x="9887149" y="918179"/>
            <a:chExt cx="362309" cy="361971"/>
          </a:xfrm>
          <a:solidFill>
            <a:srgbClr val="012169"/>
          </a:solidFill>
        </p:grpSpPr>
        <p:sp>
          <p:nvSpPr>
            <p:cNvPr id="43" name="Graphic 4">
              <a:extLst>
                <a:ext uri="{FF2B5EF4-FFF2-40B4-BE49-F238E27FC236}">
                  <a16:creationId xmlns:a16="http://schemas.microsoft.com/office/drawing/2014/main" id="{F76E8E50-3557-B00D-7B96-3FAC756C9DE7}"/>
                </a:ext>
              </a:extLst>
            </p:cNvPr>
            <p:cNvSpPr/>
            <p:nvPr/>
          </p:nvSpPr>
          <p:spPr>
            <a:xfrm>
              <a:off x="9887149" y="918179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1474 w 362309"/>
                <a:gd name="connsiteY2" fmla="*/ 361972 h 361971"/>
                <a:gd name="connsiteX3" fmla="*/ 362309 w 362309"/>
                <a:gd name="connsiteY3" fmla="*/ 181305 h 361971"/>
                <a:gd name="connsiteX4" fmla="*/ 180835 w 362309"/>
                <a:gd name="connsiteY4" fmla="*/ 0 h 361971"/>
                <a:gd name="connsiteX5" fmla="*/ 180835 w 362309"/>
                <a:gd name="connsiteY5" fmla="*/ 0 h 361971"/>
                <a:gd name="connsiteX6" fmla="*/ 180835 w 362309"/>
                <a:gd name="connsiteY6" fmla="*/ 349204 h 361971"/>
                <a:gd name="connsiteX7" fmla="*/ 12780 w 362309"/>
                <a:gd name="connsiteY7" fmla="*/ 180667 h 361971"/>
                <a:gd name="connsiteX8" fmla="*/ 181474 w 362309"/>
                <a:gd name="connsiteY8" fmla="*/ 12768 h 361971"/>
                <a:gd name="connsiteX9" fmla="*/ 349529 w 362309"/>
                <a:gd name="connsiteY9" fmla="*/ 180667 h 361971"/>
                <a:gd name="connsiteX10" fmla="*/ 180835 w 362309"/>
                <a:gd name="connsiteY10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1474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81077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7542" y="349204"/>
                    <a:pt x="12780" y="273873"/>
                    <a:pt x="12780" y="180667"/>
                  </a:cubicBezTo>
                  <a:cubicBezTo>
                    <a:pt x="12780" y="87461"/>
                    <a:pt x="88181" y="12768"/>
                    <a:pt x="181474" y="12768"/>
                  </a:cubicBezTo>
                  <a:cubicBezTo>
                    <a:pt x="274128" y="12768"/>
                    <a:pt x="349529" y="88099"/>
                    <a:pt x="349529" y="180667"/>
                  </a:cubicBezTo>
                  <a:cubicBezTo>
                    <a:pt x="349529" y="273873"/>
                    <a:pt x="274128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45" name="Graphic 4">
              <a:extLst>
                <a:ext uri="{FF2B5EF4-FFF2-40B4-BE49-F238E27FC236}">
                  <a16:creationId xmlns:a16="http://schemas.microsoft.com/office/drawing/2014/main" id="{4DC3532E-471A-6CF1-D798-03635B44EF40}"/>
                </a:ext>
              </a:extLst>
            </p:cNvPr>
            <p:cNvSpPr/>
            <p:nvPr/>
          </p:nvSpPr>
          <p:spPr>
            <a:xfrm>
              <a:off x="9975969" y="983295"/>
              <a:ext cx="184669" cy="231738"/>
            </a:xfrm>
            <a:custGeom>
              <a:avLst/>
              <a:gdLst>
                <a:gd name="connsiteX0" fmla="*/ 154637 w 184669"/>
                <a:gd name="connsiteY0" fmla="*/ 38942 h 231738"/>
                <a:gd name="connsiteX1" fmla="*/ 83069 w 184669"/>
                <a:gd name="connsiteY1" fmla="*/ 38942 h 231738"/>
                <a:gd name="connsiteX2" fmla="*/ 83069 w 184669"/>
                <a:gd name="connsiteY2" fmla="*/ 12768 h 231738"/>
                <a:gd name="connsiteX3" fmla="*/ 92015 w 184669"/>
                <a:gd name="connsiteY3" fmla="*/ 12768 h 231738"/>
                <a:gd name="connsiteX4" fmla="*/ 98405 w 184669"/>
                <a:gd name="connsiteY4" fmla="*/ 6384 h 231738"/>
                <a:gd name="connsiteX5" fmla="*/ 92015 w 184669"/>
                <a:gd name="connsiteY5" fmla="*/ 0 h 231738"/>
                <a:gd name="connsiteX6" fmla="*/ 76679 w 184669"/>
                <a:gd name="connsiteY6" fmla="*/ 0 h 231738"/>
                <a:gd name="connsiteX7" fmla="*/ 70289 w 184669"/>
                <a:gd name="connsiteY7" fmla="*/ 6384 h 231738"/>
                <a:gd name="connsiteX8" fmla="*/ 70289 w 184669"/>
                <a:gd name="connsiteY8" fmla="*/ 38942 h 231738"/>
                <a:gd name="connsiteX9" fmla="*/ 30033 w 184669"/>
                <a:gd name="connsiteY9" fmla="*/ 38942 h 231738"/>
                <a:gd name="connsiteX10" fmla="*/ 0 w 184669"/>
                <a:gd name="connsiteY10" fmla="*/ 68947 h 231738"/>
                <a:gd name="connsiteX11" fmla="*/ 0 w 184669"/>
                <a:gd name="connsiteY11" fmla="*/ 131510 h 231738"/>
                <a:gd name="connsiteX12" fmla="*/ 6390 w 184669"/>
                <a:gd name="connsiteY12" fmla="*/ 137894 h 231738"/>
                <a:gd name="connsiteX13" fmla="*/ 70289 w 184669"/>
                <a:gd name="connsiteY13" fmla="*/ 137894 h 231738"/>
                <a:gd name="connsiteX14" fmla="*/ 70289 w 184669"/>
                <a:gd name="connsiteY14" fmla="*/ 225355 h 231738"/>
                <a:gd name="connsiteX15" fmla="*/ 76679 w 184669"/>
                <a:gd name="connsiteY15" fmla="*/ 231739 h 231738"/>
                <a:gd name="connsiteX16" fmla="*/ 107990 w 184669"/>
                <a:gd name="connsiteY16" fmla="*/ 231739 h 231738"/>
                <a:gd name="connsiteX17" fmla="*/ 114380 w 184669"/>
                <a:gd name="connsiteY17" fmla="*/ 225355 h 231738"/>
                <a:gd name="connsiteX18" fmla="*/ 114380 w 184669"/>
                <a:gd name="connsiteY18" fmla="*/ 137894 h 231738"/>
                <a:gd name="connsiteX19" fmla="*/ 178279 w 184669"/>
                <a:gd name="connsiteY19" fmla="*/ 137894 h 231738"/>
                <a:gd name="connsiteX20" fmla="*/ 184669 w 184669"/>
                <a:gd name="connsiteY20" fmla="*/ 131510 h 231738"/>
                <a:gd name="connsiteX21" fmla="*/ 184669 w 184669"/>
                <a:gd name="connsiteY21" fmla="*/ 68947 h 231738"/>
                <a:gd name="connsiteX22" fmla="*/ 154637 w 184669"/>
                <a:gd name="connsiteY22" fmla="*/ 38942 h 231738"/>
                <a:gd name="connsiteX23" fmla="*/ 101600 w 184669"/>
                <a:gd name="connsiteY23" fmla="*/ 218971 h 231738"/>
                <a:gd name="connsiteX24" fmla="*/ 83069 w 184669"/>
                <a:gd name="connsiteY24" fmla="*/ 218971 h 231738"/>
                <a:gd name="connsiteX25" fmla="*/ 83069 w 184669"/>
                <a:gd name="connsiteY25" fmla="*/ 137894 h 231738"/>
                <a:gd name="connsiteX26" fmla="*/ 101600 w 184669"/>
                <a:gd name="connsiteY26" fmla="*/ 137894 h 231738"/>
                <a:gd name="connsiteX27" fmla="*/ 101600 w 184669"/>
                <a:gd name="connsiteY27" fmla="*/ 218971 h 231738"/>
                <a:gd name="connsiteX28" fmla="*/ 171889 w 184669"/>
                <a:gd name="connsiteY28" fmla="*/ 125126 h 231738"/>
                <a:gd name="connsiteX29" fmla="*/ 12780 w 184669"/>
                <a:gd name="connsiteY29" fmla="*/ 125126 h 231738"/>
                <a:gd name="connsiteX30" fmla="*/ 12780 w 184669"/>
                <a:gd name="connsiteY30" fmla="*/ 68947 h 231738"/>
                <a:gd name="connsiteX31" fmla="*/ 30033 w 184669"/>
                <a:gd name="connsiteY31" fmla="*/ 51710 h 231738"/>
                <a:gd name="connsiteX32" fmla="*/ 70289 w 184669"/>
                <a:gd name="connsiteY32" fmla="*/ 51710 h 231738"/>
                <a:gd name="connsiteX33" fmla="*/ 70289 w 184669"/>
                <a:gd name="connsiteY33" fmla="*/ 68947 h 231738"/>
                <a:gd name="connsiteX34" fmla="*/ 76679 w 184669"/>
                <a:gd name="connsiteY34" fmla="*/ 75331 h 231738"/>
                <a:gd name="connsiteX35" fmla="*/ 83069 w 184669"/>
                <a:gd name="connsiteY35" fmla="*/ 68947 h 231738"/>
                <a:gd name="connsiteX36" fmla="*/ 83069 w 184669"/>
                <a:gd name="connsiteY36" fmla="*/ 51710 h 231738"/>
                <a:gd name="connsiteX37" fmla="*/ 154637 w 184669"/>
                <a:gd name="connsiteY37" fmla="*/ 51710 h 231738"/>
                <a:gd name="connsiteX38" fmla="*/ 171889 w 184669"/>
                <a:gd name="connsiteY38" fmla="*/ 68947 h 231738"/>
                <a:gd name="connsiteX39" fmla="*/ 171889 w 184669"/>
                <a:gd name="connsiteY39" fmla="*/ 125126 h 231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84669" h="231738">
                  <a:moveTo>
                    <a:pt x="154637" y="38942"/>
                  </a:moveTo>
                  <a:lnTo>
                    <a:pt x="83069" y="38942"/>
                  </a:lnTo>
                  <a:lnTo>
                    <a:pt x="83069" y="12768"/>
                  </a:lnTo>
                  <a:lnTo>
                    <a:pt x="92015" y="12768"/>
                  </a:lnTo>
                  <a:cubicBezTo>
                    <a:pt x="95849" y="12768"/>
                    <a:pt x="98405" y="10214"/>
                    <a:pt x="98405" y="6384"/>
                  </a:cubicBezTo>
                  <a:cubicBezTo>
                    <a:pt x="98405" y="2554"/>
                    <a:pt x="95849" y="0"/>
                    <a:pt x="92015" y="0"/>
                  </a:cubicBezTo>
                  <a:lnTo>
                    <a:pt x="76679" y="0"/>
                  </a:lnTo>
                  <a:cubicBezTo>
                    <a:pt x="72845" y="0"/>
                    <a:pt x="70289" y="2554"/>
                    <a:pt x="70289" y="6384"/>
                  </a:cubicBezTo>
                  <a:lnTo>
                    <a:pt x="70289" y="38942"/>
                  </a:lnTo>
                  <a:lnTo>
                    <a:pt x="30033" y="38942"/>
                  </a:lnTo>
                  <a:cubicBezTo>
                    <a:pt x="13419" y="38942"/>
                    <a:pt x="0" y="52349"/>
                    <a:pt x="0" y="68947"/>
                  </a:cubicBezTo>
                  <a:lnTo>
                    <a:pt x="0" y="131510"/>
                  </a:lnTo>
                  <a:cubicBezTo>
                    <a:pt x="0" y="135341"/>
                    <a:pt x="2556" y="137894"/>
                    <a:pt x="6390" y="137894"/>
                  </a:cubicBezTo>
                  <a:lnTo>
                    <a:pt x="70289" y="137894"/>
                  </a:lnTo>
                  <a:lnTo>
                    <a:pt x="70289" y="225355"/>
                  </a:lnTo>
                  <a:cubicBezTo>
                    <a:pt x="70289" y="229185"/>
                    <a:pt x="72845" y="231739"/>
                    <a:pt x="76679" y="231739"/>
                  </a:cubicBezTo>
                  <a:lnTo>
                    <a:pt x="107990" y="231739"/>
                  </a:lnTo>
                  <a:cubicBezTo>
                    <a:pt x="111824" y="231739"/>
                    <a:pt x="114380" y="229185"/>
                    <a:pt x="114380" y="225355"/>
                  </a:cubicBezTo>
                  <a:lnTo>
                    <a:pt x="114380" y="137894"/>
                  </a:lnTo>
                  <a:lnTo>
                    <a:pt x="178279" y="137894"/>
                  </a:lnTo>
                  <a:cubicBezTo>
                    <a:pt x="182113" y="137894"/>
                    <a:pt x="184669" y="135341"/>
                    <a:pt x="184669" y="131510"/>
                  </a:cubicBezTo>
                  <a:lnTo>
                    <a:pt x="184669" y="68947"/>
                  </a:lnTo>
                  <a:cubicBezTo>
                    <a:pt x="184031" y="52349"/>
                    <a:pt x="171251" y="38942"/>
                    <a:pt x="154637" y="38942"/>
                  </a:cubicBezTo>
                  <a:close/>
                  <a:moveTo>
                    <a:pt x="101600" y="218971"/>
                  </a:moveTo>
                  <a:lnTo>
                    <a:pt x="83069" y="218971"/>
                  </a:lnTo>
                  <a:lnTo>
                    <a:pt x="83069" y="137894"/>
                  </a:lnTo>
                  <a:lnTo>
                    <a:pt x="101600" y="137894"/>
                  </a:lnTo>
                  <a:lnTo>
                    <a:pt x="101600" y="218971"/>
                  </a:lnTo>
                  <a:close/>
                  <a:moveTo>
                    <a:pt x="171889" y="125126"/>
                  </a:moveTo>
                  <a:lnTo>
                    <a:pt x="12780" y="125126"/>
                  </a:lnTo>
                  <a:lnTo>
                    <a:pt x="12780" y="68947"/>
                  </a:lnTo>
                  <a:cubicBezTo>
                    <a:pt x="12780" y="59371"/>
                    <a:pt x="20448" y="51710"/>
                    <a:pt x="30033" y="51710"/>
                  </a:cubicBezTo>
                  <a:lnTo>
                    <a:pt x="70289" y="51710"/>
                  </a:lnTo>
                  <a:lnTo>
                    <a:pt x="70289" y="68947"/>
                  </a:lnTo>
                  <a:cubicBezTo>
                    <a:pt x="70289" y="72777"/>
                    <a:pt x="72845" y="75331"/>
                    <a:pt x="76679" y="75331"/>
                  </a:cubicBezTo>
                  <a:cubicBezTo>
                    <a:pt x="80514" y="75331"/>
                    <a:pt x="83069" y="72777"/>
                    <a:pt x="83069" y="68947"/>
                  </a:cubicBezTo>
                  <a:lnTo>
                    <a:pt x="83069" y="51710"/>
                  </a:lnTo>
                  <a:lnTo>
                    <a:pt x="154637" y="51710"/>
                  </a:lnTo>
                  <a:cubicBezTo>
                    <a:pt x="164222" y="51710"/>
                    <a:pt x="171889" y="59371"/>
                    <a:pt x="171889" y="68947"/>
                  </a:cubicBezTo>
                  <a:lnTo>
                    <a:pt x="171889" y="12512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</p:grpSp>
      <p:grpSp>
        <p:nvGrpSpPr>
          <p:cNvPr id="48" name="Graphic 4">
            <a:extLst>
              <a:ext uri="{FF2B5EF4-FFF2-40B4-BE49-F238E27FC236}">
                <a16:creationId xmlns:a16="http://schemas.microsoft.com/office/drawing/2014/main" id="{DBF9ECCA-EE54-B820-4218-CC50706A2F9C}"/>
              </a:ext>
            </a:extLst>
          </p:cNvPr>
          <p:cNvGrpSpPr>
            <a:grpSpLocks noChangeAspect="1"/>
          </p:cNvGrpSpPr>
          <p:nvPr/>
        </p:nvGrpSpPr>
        <p:grpSpPr>
          <a:xfrm>
            <a:off x="6428636" y="5519554"/>
            <a:ext cx="333811" cy="333500"/>
            <a:chOff x="1515054" y="3824168"/>
            <a:chExt cx="361670" cy="361333"/>
          </a:xfrm>
          <a:solidFill>
            <a:srgbClr val="012169"/>
          </a:solidFill>
        </p:grpSpPr>
        <p:sp>
          <p:nvSpPr>
            <p:cNvPr id="49" name="Graphic 4">
              <a:extLst>
                <a:ext uri="{FF2B5EF4-FFF2-40B4-BE49-F238E27FC236}">
                  <a16:creationId xmlns:a16="http://schemas.microsoft.com/office/drawing/2014/main" id="{6D3EF94B-1F8B-68E4-8DC1-2D27875CF1DD}"/>
                </a:ext>
              </a:extLst>
            </p:cNvPr>
            <p:cNvSpPr/>
            <p:nvPr/>
          </p:nvSpPr>
          <p:spPr>
            <a:xfrm>
              <a:off x="1515054" y="3824168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3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180835 w 361670"/>
                <a:gd name="connsiteY5" fmla="*/ 349204 h 361333"/>
                <a:gd name="connsiteX6" fmla="*/ 12780 w 361670"/>
                <a:gd name="connsiteY6" fmla="*/ 181305 h 361333"/>
                <a:gd name="connsiteX7" fmla="*/ 180835 w 361670"/>
                <a:gd name="connsiteY7" fmla="*/ 13406 h 361333"/>
                <a:gd name="connsiteX8" fmla="*/ 348891 w 361670"/>
                <a:gd name="connsiteY8" fmla="*/ 181305 h 361333"/>
                <a:gd name="connsiteX9" fmla="*/ 180835 w 361670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895"/>
                    <a:pt x="81152" y="361333"/>
                    <a:pt x="180835" y="361333"/>
                  </a:cubicBezTo>
                  <a:cubicBezTo>
                    <a:pt x="280518" y="361333"/>
                    <a:pt x="361670" y="280257"/>
                    <a:pt x="361670" y="180667"/>
                  </a:cubicBezTo>
                  <a:cubicBezTo>
                    <a:pt x="361670" y="81076"/>
                    <a:pt x="280518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3406"/>
                    <a:pt x="180835" y="13406"/>
                  </a:cubicBezTo>
                  <a:cubicBezTo>
                    <a:pt x="273489" y="13406"/>
                    <a:pt x="348891" y="88737"/>
                    <a:pt x="348891" y="181305"/>
                  </a:cubicBezTo>
                  <a:cubicBezTo>
                    <a:pt x="348891" y="273873"/>
                    <a:pt x="273489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50" name="Graphic 4">
              <a:extLst>
                <a:ext uri="{FF2B5EF4-FFF2-40B4-BE49-F238E27FC236}">
                  <a16:creationId xmlns:a16="http://schemas.microsoft.com/office/drawing/2014/main" id="{3B602DF2-F00D-B167-3E7F-4C394DBD78C0}"/>
                </a:ext>
              </a:extLst>
            </p:cNvPr>
            <p:cNvSpPr/>
            <p:nvPr/>
          </p:nvSpPr>
          <p:spPr>
            <a:xfrm>
              <a:off x="1658827" y="3995258"/>
              <a:ext cx="12779" cy="12768"/>
            </a:xfrm>
            <a:custGeom>
              <a:avLst/>
              <a:gdLst>
                <a:gd name="connsiteX0" fmla="*/ 1917 w 12779"/>
                <a:gd name="connsiteY0" fmla="*/ 10853 h 12768"/>
                <a:gd name="connsiteX1" fmla="*/ 3834 w 12779"/>
                <a:gd name="connsiteY1" fmla="*/ 12130 h 12768"/>
                <a:gd name="connsiteX2" fmla="*/ 6390 w 12779"/>
                <a:gd name="connsiteY2" fmla="*/ 12768 h 12768"/>
                <a:gd name="connsiteX3" fmla="*/ 8946 w 12779"/>
                <a:gd name="connsiteY3" fmla="*/ 12130 h 12768"/>
                <a:gd name="connsiteX4" fmla="*/ 10863 w 12779"/>
                <a:gd name="connsiteY4" fmla="*/ 10853 h 12768"/>
                <a:gd name="connsiteX5" fmla="*/ 12780 w 12779"/>
                <a:gd name="connsiteY5" fmla="*/ 6384 h 12768"/>
                <a:gd name="connsiteX6" fmla="*/ 12141 w 12779"/>
                <a:gd name="connsiteY6" fmla="*/ 3830 h 12768"/>
                <a:gd name="connsiteX7" fmla="*/ 10863 w 12779"/>
                <a:gd name="connsiteY7" fmla="*/ 1915 h 12768"/>
                <a:gd name="connsiteX8" fmla="*/ 1917 w 12779"/>
                <a:gd name="connsiteY8" fmla="*/ 1915 h 12768"/>
                <a:gd name="connsiteX9" fmla="*/ 639 w 12779"/>
                <a:gd name="connsiteY9" fmla="*/ 3830 h 12768"/>
                <a:gd name="connsiteX10" fmla="*/ 0 w 12779"/>
                <a:gd name="connsiteY10" fmla="*/ 6384 h 12768"/>
                <a:gd name="connsiteX11" fmla="*/ 639 w 12779"/>
                <a:gd name="connsiteY11" fmla="*/ 8938 h 12768"/>
                <a:gd name="connsiteX12" fmla="*/ 1917 w 12779"/>
                <a:gd name="connsiteY12" fmla="*/ 10853 h 12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79" h="12768">
                  <a:moveTo>
                    <a:pt x="1917" y="10853"/>
                  </a:moveTo>
                  <a:cubicBezTo>
                    <a:pt x="2556" y="11491"/>
                    <a:pt x="3195" y="12130"/>
                    <a:pt x="3834" y="12130"/>
                  </a:cubicBezTo>
                  <a:cubicBezTo>
                    <a:pt x="4473" y="12768"/>
                    <a:pt x="5751" y="12768"/>
                    <a:pt x="6390" y="12768"/>
                  </a:cubicBezTo>
                  <a:cubicBezTo>
                    <a:pt x="7029" y="12768"/>
                    <a:pt x="8307" y="12768"/>
                    <a:pt x="8946" y="12130"/>
                  </a:cubicBezTo>
                  <a:cubicBezTo>
                    <a:pt x="9585" y="12130"/>
                    <a:pt x="10224" y="11491"/>
                    <a:pt x="10863" y="10853"/>
                  </a:cubicBezTo>
                  <a:cubicBezTo>
                    <a:pt x="12141" y="9576"/>
                    <a:pt x="12780" y="8299"/>
                    <a:pt x="12780" y="6384"/>
                  </a:cubicBezTo>
                  <a:cubicBezTo>
                    <a:pt x="12780" y="5746"/>
                    <a:pt x="12780" y="4469"/>
                    <a:pt x="12141" y="3830"/>
                  </a:cubicBezTo>
                  <a:cubicBezTo>
                    <a:pt x="12141" y="3192"/>
                    <a:pt x="11502" y="2554"/>
                    <a:pt x="10863" y="1915"/>
                  </a:cubicBezTo>
                  <a:cubicBezTo>
                    <a:pt x="8307" y="-638"/>
                    <a:pt x="4473" y="-638"/>
                    <a:pt x="1917" y="1915"/>
                  </a:cubicBezTo>
                  <a:cubicBezTo>
                    <a:pt x="1278" y="2554"/>
                    <a:pt x="639" y="3192"/>
                    <a:pt x="639" y="3830"/>
                  </a:cubicBezTo>
                  <a:cubicBezTo>
                    <a:pt x="639" y="4469"/>
                    <a:pt x="0" y="5107"/>
                    <a:pt x="0" y="6384"/>
                  </a:cubicBezTo>
                  <a:cubicBezTo>
                    <a:pt x="0" y="7022"/>
                    <a:pt x="0" y="8299"/>
                    <a:pt x="639" y="8938"/>
                  </a:cubicBezTo>
                  <a:cubicBezTo>
                    <a:pt x="1278" y="9576"/>
                    <a:pt x="1278" y="10214"/>
                    <a:pt x="1917" y="10853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51" name="Graphic 4">
              <a:extLst>
                <a:ext uri="{FF2B5EF4-FFF2-40B4-BE49-F238E27FC236}">
                  <a16:creationId xmlns:a16="http://schemas.microsoft.com/office/drawing/2014/main" id="{28BA8CE3-A20B-6A4D-4083-93B4EE503F03}"/>
                </a:ext>
              </a:extLst>
            </p:cNvPr>
            <p:cNvSpPr/>
            <p:nvPr/>
          </p:nvSpPr>
          <p:spPr>
            <a:xfrm>
              <a:off x="1689499" y="3995418"/>
              <a:ext cx="12779" cy="12608"/>
            </a:xfrm>
            <a:custGeom>
              <a:avLst/>
              <a:gdLst>
                <a:gd name="connsiteX0" fmla="*/ 3834 w 12779"/>
                <a:gd name="connsiteY0" fmla="*/ 11970 h 12608"/>
                <a:gd name="connsiteX1" fmla="*/ 6390 w 12779"/>
                <a:gd name="connsiteY1" fmla="*/ 12608 h 12608"/>
                <a:gd name="connsiteX2" fmla="*/ 8946 w 12779"/>
                <a:gd name="connsiteY2" fmla="*/ 11970 h 12608"/>
                <a:gd name="connsiteX3" fmla="*/ 10863 w 12779"/>
                <a:gd name="connsiteY3" fmla="*/ 10693 h 12608"/>
                <a:gd name="connsiteX4" fmla="*/ 12780 w 12779"/>
                <a:gd name="connsiteY4" fmla="*/ 6224 h 12608"/>
                <a:gd name="connsiteX5" fmla="*/ 10863 w 12779"/>
                <a:gd name="connsiteY5" fmla="*/ 1756 h 12608"/>
                <a:gd name="connsiteX6" fmla="*/ 8946 w 12779"/>
                <a:gd name="connsiteY6" fmla="*/ 479 h 12608"/>
                <a:gd name="connsiteX7" fmla="*/ 3834 w 12779"/>
                <a:gd name="connsiteY7" fmla="*/ 479 h 12608"/>
                <a:gd name="connsiteX8" fmla="*/ 1917 w 12779"/>
                <a:gd name="connsiteY8" fmla="*/ 1756 h 12608"/>
                <a:gd name="connsiteX9" fmla="*/ 0 w 12779"/>
                <a:gd name="connsiteY9" fmla="*/ 6224 h 12608"/>
                <a:gd name="connsiteX10" fmla="*/ 1917 w 12779"/>
                <a:gd name="connsiteY10" fmla="*/ 10693 h 12608"/>
                <a:gd name="connsiteX11" fmla="*/ 3834 w 12779"/>
                <a:gd name="connsiteY11" fmla="*/ 11970 h 12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779" h="12608">
                  <a:moveTo>
                    <a:pt x="3834" y="11970"/>
                  </a:moveTo>
                  <a:cubicBezTo>
                    <a:pt x="4473" y="11970"/>
                    <a:pt x="5112" y="12608"/>
                    <a:pt x="6390" y="12608"/>
                  </a:cubicBezTo>
                  <a:cubicBezTo>
                    <a:pt x="7668" y="12608"/>
                    <a:pt x="8307" y="12608"/>
                    <a:pt x="8946" y="11970"/>
                  </a:cubicBezTo>
                  <a:cubicBezTo>
                    <a:pt x="9585" y="11332"/>
                    <a:pt x="10224" y="11332"/>
                    <a:pt x="10863" y="10693"/>
                  </a:cubicBezTo>
                  <a:cubicBezTo>
                    <a:pt x="12141" y="9416"/>
                    <a:pt x="12780" y="8140"/>
                    <a:pt x="12780" y="6224"/>
                  </a:cubicBezTo>
                  <a:cubicBezTo>
                    <a:pt x="12780" y="4309"/>
                    <a:pt x="12141" y="3032"/>
                    <a:pt x="10863" y="1756"/>
                  </a:cubicBezTo>
                  <a:cubicBezTo>
                    <a:pt x="10224" y="1117"/>
                    <a:pt x="9585" y="479"/>
                    <a:pt x="8946" y="479"/>
                  </a:cubicBezTo>
                  <a:cubicBezTo>
                    <a:pt x="7668" y="-160"/>
                    <a:pt x="5751" y="-160"/>
                    <a:pt x="3834" y="479"/>
                  </a:cubicBezTo>
                  <a:cubicBezTo>
                    <a:pt x="3195" y="479"/>
                    <a:pt x="2556" y="1117"/>
                    <a:pt x="1917" y="1756"/>
                  </a:cubicBezTo>
                  <a:cubicBezTo>
                    <a:pt x="639" y="3032"/>
                    <a:pt x="0" y="4309"/>
                    <a:pt x="0" y="6224"/>
                  </a:cubicBezTo>
                  <a:cubicBezTo>
                    <a:pt x="0" y="8140"/>
                    <a:pt x="639" y="9416"/>
                    <a:pt x="1917" y="10693"/>
                  </a:cubicBezTo>
                  <a:cubicBezTo>
                    <a:pt x="2556" y="11332"/>
                    <a:pt x="3195" y="11970"/>
                    <a:pt x="3834" y="1197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52" name="Graphic 4">
              <a:extLst>
                <a:ext uri="{FF2B5EF4-FFF2-40B4-BE49-F238E27FC236}">
                  <a16:creationId xmlns:a16="http://schemas.microsoft.com/office/drawing/2014/main" id="{72D1D9CF-0361-7C47-3A5D-2CDA49E715FD}"/>
                </a:ext>
              </a:extLst>
            </p:cNvPr>
            <p:cNvSpPr/>
            <p:nvPr/>
          </p:nvSpPr>
          <p:spPr>
            <a:xfrm>
              <a:off x="1719532" y="3995258"/>
              <a:ext cx="12779" cy="12768"/>
            </a:xfrm>
            <a:custGeom>
              <a:avLst/>
              <a:gdLst>
                <a:gd name="connsiteX0" fmla="*/ 1917 w 12779"/>
                <a:gd name="connsiteY0" fmla="*/ 10853 h 12768"/>
                <a:gd name="connsiteX1" fmla="*/ 6390 w 12779"/>
                <a:gd name="connsiteY1" fmla="*/ 12768 h 12768"/>
                <a:gd name="connsiteX2" fmla="*/ 8946 w 12779"/>
                <a:gd name="connsiteY2" fmla="*/ 12130 h 12768"/>
                <a:gd name="connsiteX3" fmla="*/ 10863 w 12779"/>
                <a:gd name="connsiteY3" fmla="*/ 10853 h 12768"/>
                <a:gd name="connsiteX4" fmla="*/ 12141 w 12779"/>
                <a:gd name="connsiteY4" fmla="*/ 8938 h 12768"/>
                <a:gd name="connsiteX5" fmla="*/ 12780 w 12779"/>
                <a:gd name="connsiteY5" fmla="*/ 6384 h 12768"/>
                <a:gd name="connsiteX6" fmla="*/ 10863 w 12779"/>
                <a:gd name="connsiteY6" fmla="*/ 1915 h 12768"/>
                <a:gd name="connsiteX7" fmla="*/ 1917 w 12779"/>
                <a:gd name="connsiteY7" fmla="*/ 1915 h 12768"/>
                <a:gd name="connsiteX8" fmla="*/ 0 w 12779"/>
                <a:gd name="connsiteY8" fmla="*/ 6384 h 12768"/>
                <a:gd name="connsiteX9" fmla="*/ 639 w 12779"/>
                <a:gd name="connsiteY9" fmla="*/ 8938 h 12768"/>
                <a:gd name="connsiteX10" fmla="*/ 1917 w 12779"/>
                <a:gd name="connsiteY10" fmla="*/ 10853 h 12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79" h="12768">
                  <a:moveTo>
                    <a:pt x="1917" y="10853"/>
                  </a:moveTo>
                  <a:cubicBezTo>
                    <a:pt x="3195" y="12130"/>
                    <a:pt x="4473" y="12768"/>
                    <a:pt x="6390" y="12768"/>
                  </a:cubicBezTo>
                  <a:cubicBezTo>
                    <a:pt x="7029" y="12768"/>
                    <a:pt x="8307" y="12768"/>
                    <a:pt x="8946" y="12130"/>
                  </a:cubicBezTo>
                  <a:cubicBezTo>
                    <a:pt x="9585" y="11491"/>
                    <a:pt x="10224" y="11491"/>
                    <a:pt x="10863" y="10853"/>
                  </a:cubicBezTo>
                  <a:cubicBezTo>
                    <a:pt x="11502" y="10214"/>
                    <a:pt x="12141" y="9576"/>
                    <a:pt x="12141" y="8938"/>
                  </a:cubicBezTo>
                  <a:cubicBezTo>
                    <a:pt x="12141" y="8299"/>
                    <a:pt x="12780" y="7661"/>
                    <a:pt x="12780" y="6384"/>
                  </a:cubicBezTo>
                  <a:cubicBezTo>
                    <a:pt x="12780" y="4469"/>
                    <a:pt x="12141" y="3192"/>
                    <a:pt x="10863" y="1915"/>
                  </a:cubicBezTo>
                  <a:cubicBezTo>
                    <a:pt x="8307" y="-638"/>
                    <a:pt x="4473" y="-638"/>
                    <a:pt x="1917" y="1915"/>
                  </a:cubicBezTo>
                  <a:cubicBezTo>
                    <a:pt x="639" y="3192"/>
                    <a:pt x="0" y="4469"/>
                    <a:pt x="0" y="6384"/>
                  </a:cubicBezTo>
                  <a:cubicBezTo>
                    <a:pt x="0" y="7022"/>
                    <a:pt x="0" y="8299"/>
                    <a:pt x="639" y="8938"/>
                  </a:cubicBezTo>
                  <a:cubicBezTo>
                    <a:pt x="1278" y="9576"/>
                    <a:pt x="1278" y="10214"/>
                    <a:pt x="1917" y="10853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  <p:sp>
          <p:nvSpPr>
            <p:cNvPr id="53" name="Graphic 4">
              <a:extLst>
                <a:ext uri="{FF2B5EF4-FFF2-40B4-BE49-F238E27FC236}">
                  <a16:creationId xmlns:a16="http://schemas.microsoft.com/office/drawing/2014/main" id="{1D1E48AC-4989-DAE7-2C29-7E73EFA7BFAC}"/>
                </a:ext>
              </a:extLst>
            </p:cNvPr>
            <p:cNvSpPr/>
            <p:nvPr/>
          </p:nvSpPr>
          <p:spPr>
            <a:xfrm>
              <a:off x="1582787" y="3926950"/>
              <a:ext cx="225564" cy="194711"/>
            </a:xfrm>
            <a:custGeom>
              <a:avLst/>
              <a:gdLst>
                <a:gd name="connsiteX0" fmla="*/ 219175 w 225564"/>
                <a:gd name="connsiteY0" fmla="*/ 0 h 194711"/>
                <a:gd name="connsiteX1" fmla="*/ 6390 w 225564"/>
                <a:gd name="connsiteY1" fmla="*/ 0 h 194711"/>
                <a:gd name="connsiteX2" fmla="*/ 0 w 225564"/>
                <a:gd name="connsiteY2" fmla="*/ 6384 h 194711"/>
                <a:gd name="connsiteX3" fmla="*/ 0 w 225564"/>
                <a:gd name="connsiteY3" fmla="*/ 143001 h 194711"/>
                <a:gd name="connsiteX4" fmla="*/ 6390 w 225564"/>
                <a:gd name="connsiteY4" fmla="*/ 149385 h 194711"/>
                <a:gd name="connsiteX5" fmla="*/ 37701 w 225564"/>
                <a:gd name="connsiteY5" fmla="*/ 149385 h 194711"/>
                <a:gd name="connsiteX6" fmla="*/ 37701 w 225564"/>
                <a:gd name="connsiteY6" fmla="*/ 188327 h 194711"/>
                <a:gd name="connsiteX7" fmla="*/ 42174 w 225564"/>
                <a:gd name="connsiteY7" fmla="*/ 194073 h 194711"/>
                <a:gd name="connsiteX8" fmla="*/ 44091 w 225564"/>
                <a:gd name="connsiteY8" fmla="*/ 194711 h 194711"/>
                <a:gd name="connsiteX9" fmla="*/ 49202 w 225564"/>
                <a:gd name="connsiteY9" fmla="*/ 192158 h 194711"/>
                <a:gd name="connsiteX10" fmla="*/ 84986 w 225564"/>
                <a:gd name="connsiteY10" fmla="*/ 148747 h 194711"/>
                <a:gd name="connsiteX11" fmla="*/ 219175 w 225564"/>
                <a:gd name="connsiteY11" fmla="*/ 148747 h 194711"/>
                <a:gd name="connsiteX12" fmla="*/ 225565 w 225564"/>
                <a:gd name="connsiteY12" fmla="*/ 142363 h 194711"/>
                <a:gd name="connsiteX13" fmla="*/ 225565 w 225564"/>
                <a:gd name="connsiteY13" fmla="*/ 5746 h 194711"/>
                <a:gd name="connsiteX14" fmla="*/ 219175 w 225564"/>
                <a:gd name="connsiteY14" fmla="*/ 0 h 194711"/>
                <a:gd name="connsiteX15" fmla="*/ 212785 w 225564"/>
                <a:gd name="connsiteY15" fmla="*/ 136617 h 194711"/>
                <a:gd name="connsiteX16" fmla="*/ 82430 w 225564"/>
                <a:gd name="connsiteY16" fmla="*/ 136617 h 194711"/>
                <a:gd name="connsiteX17" fmla="*/ 77318 w 225564"/>
                <a:gd name="connsiteY17" fmla="*/ 139171 h 194711"/>
                <a:gd name="connsiteX18" fmla="*/ 50481 w 225564"/>
                <a:gd name="connsiteY18" fmla="*/ 171091 h 194711"/>
                <a:gd name="connsiteX19" fmla="*/ 50481 w 225564"/>
                <a:gd name="connsiteY19" fmla="*/ 143001 h 194711"/>
                <a:gd name="connsiteX20" fmla="*/ 44091 w 225564"/>
                <a:gd name="connsiteY20" fmla="*/ 136617 h 194711"/>
                <a:gd name="connsiteX21" fmla="*/ 12780 w 225564"/>
                <a:gd name="connsiteY21" fmla="*/ 136617 h 194711"/>
                <a:gd name="connsiteX22" fmla="*/ 12780 w 225564"/>
                <a:gd name="connsiteY22" fmla="*/ 12768 h 194711"/>
                <a:gd name="connsiteX23" fmla="*/ 212785 w 225564"/>
                <a:gd name="connsiteY23" fmla="*/ 12768 h 194711"/>
                <a:gd name="connsiteX24" fmla="*/ 212785 w 225564"/>
                <a:gd name="connsiteY24" fmla="*/ 136617 h 194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5564" h="194711">
                  <a:moveTo>
                    <a:pt x="219175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143001"/>
                  </a:lnTo>
                  <a:cubicBezTo>
                    <a:pt x="0" y="146832"/>
                    <a:pt x="2556" y="149385"/>
                    <a:pt x="6390" y="149385"/>
                  </a:cubicBezTo>
                  <a:lnTo>
                    <a:pt x="37701" y="149385"/>
                  </a:lnTo>
                  <a:lnTo>
                    <a:pt x="37701" y="188327"/>
                  </a:lnTo>
                  <a:cubicBezTo>
                    <a:pt x="37701" y="190881"/>
                    <a:pt x="39618" y="193435"/>
                    <a:pt x="42174" y="194073"/>
                  </a:cubicBezTo>
                  <a:cubicBezTo>
                    <a:pt x="42813" y="194073"/>
                    <a:pt x="43452" y="194711"/>
                    <a:pt x="44091" y="194711"/>
                  </a:cubicBezTo>
                  <a:cubicBezTo>
                    <a:pt x="46008" y="194711"/>
                    <a:pt x="47925" y="194073"/>
                    <a:pt x="49202" y="192158"/>
                  </a:cubicBezTo>
                  <a:lnTo>
                    <a:pt x="84986" y="148747"/>
                  </a:lnTo>
                  <a:lnTo>
                    <a:pt x="219175" y="148747"/>
                  </a:lnTo>
                  <a:cubicBezTo>
                    <a:pt x="223009" y="148747"/>
                    <a:pt x="225565" y="146193"/>
                    <a:pt x="225565" y="142363"/>
                  </a:cubicBezTo>
                  <a:lnTo>
                    <a:pt x="225565" y="5746"/>
                  </a:lnTo>
                  <a:cubicBezTo>
                    <a:pt x="225565" y="2554"/>
                    <a:pt x="223009" y="0"/>
                    <a:pt x="219175" y="0"/>
                  </a:cubicBezTo>
                  <a:close/>
                  <a:moveTo>
                    <a:pt x="212785" y="136617"/>
                  </a:moveTo>
                  <a:lnTo>
                    <a:pt x="82430" y="136617"/>
                  </a:lnTo>
                  <a:cubicBezTo>
                    <a:pt x="80513" y="136617"/>
                    <a:pt x="78596" y="137256"/>
                    <a:pt x="77318" y="139171"/>
                  </a:cubicBezTo>
                  <a:lnTo>
                    <a:pt x="50481" y="171091"/>
                  </a:lnTo>
                  <a:lnTo>
                    <a:pt x="50481" y="143001"/>
                  </a:lnTo>
                  <a:cubicBezTo>
                    <a:pt x="50481" y="139171"/>
                    <a:pt x="47925" y="136617"/>
                    <a:pt x="44091" y="136617"/>
                  </a:cubicBezTo>
                  <a:lnTo>
                    <a:pt x="12780" y="136617"/>
                  </a:lnTo>
                  <a:lnTo>
                    <a:pt x="12780" y="12768"/>
                  </a:lnTo>
                  <a:lnTo>
                    <a:pt x="212785" y="12768"/>
                  </a:lnTo>
                  <a:lnTo>
                    <a:pt x="212785" y="136617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9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9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8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80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75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81" algn="l" defTabSz="914390" rtl="0" eaLnBrk="1" latinLnBrk="0" hangingPunct="1">
                <a:defRPr sz="180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5" dirty="0"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2092BA7D-B994-1A6C-D915-714A93E04D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043" y="3165020"/>
            <a:ext cx="5329117" cy="2276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24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15AF58-28D7-8FD8-054A-A9A1BDBED2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F3DEE9B-1745-D3F1-DB65-C44CB05BFA29}"/>
              </a:ext>
            </a:extLst>
          </p:cNvPr>
          <p:cNvCxnSpPr>
            <a:cxnSpLocks/>
          </p:cNvCxnSpPr>
          <p:nvPr/>
        </p:nvCxnSpPr>
        <p:spPr>
          <a:xfrm>
            <a:off x="8906687" y="1066058"/>
            <a:ext cx="3276000" cy="0"/>
          </a:xfrm>
          <a:prstGeom prst="line">
            <a:avLst/>
          </a:prstGeom>
          <a:noFill/>
          <a:ln w="12700" cap="flat" cmpd="sng" algn="ctr">
            <a:solidFill>
              <a:srgbClr val="FDC124"/>
            </a:solidFill>
            <a:prstDash val="solid"/>
          </a:ln>
          <a:effectLst/>
        </p:spPr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30088F38-D174-8CCD-E492-A09C03BACAC6}"/>
              </a:ext>
            </a:extLst>
          </p:cNvPr>
          <p:cNvSpPr/>
          <p:nvPr/>
        </p:nvSpPr>
        <p:spPr bwMode="gray">
          <a:xfrm>
            <a:off x="8823382" y="904058"/>
            <a:ext cx="324000" cy="32400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F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FA726"/>
                </a:solidFill>
                <a:effectLst/>
                <a:uLnTx/>
                <a:uFillTx/>
                <a:latin typeface="Aptos" panose="020B0004020202020204" pitchFamily="34" charset="0"/>
              </a:rPr>
              <a:t>0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AC388E4-6E0E-389E-D3CF-3257A094ACF5}"/>
              </a:ext>
            </a:extLst>
          </p:cNvPr>
          <p:cNvSpPr/>
          <p:nvPr/>
        </p:nvSpPr>
        <p:spPr bwMode="gray">
          <a:xfrm>
            <a:off x="9370600" y="904058"/>
            <a:ext cx="324000" cy="32400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2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3DCAEDF7-3962-5393-2E90-14A13D03EB45}"/>
              </a:ext>
            </a:extLst>
          </p:cNvPr>
          <p:cNvSpPr/>
          <p:nvPr/>
        </p:nvSpPr>
        <p:spPr bwMode="gray">
          <a:xfrm>
            <a:off x="10465036" y="904058"/>
            <a:ext cx="324000" cy="324000"/>
          </a:xfrm>
          <a:prstGeom prst="ellipse">
            <a:avLst/>
          </a:prstGeom>
          <a:solidFill>
            <a:srgbClr val="DFA726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</a:rPr>
              <a:t>04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FCB22E2-2E06-E135-1985-B0978A0591A2}"/>
              </a:ext>
            </a:extLst>
          </p:cNvPr>
          <p:cNvSpPr/>
          <p:nvPr/>
        </p:nvSpPr>
        <p:spPr bwMode="gray">
          <a:xfrm>
            <a:off x="9917818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ca-ES" sz="700" kern="0" dirty="0">
                <a:solidFill>
                  <a:srgbClr val="DEA726"/>
                </a:solidFill>
                <a:latin typeface="Aptos" panose="020B0004020202020204" pitchFamily="34" charset="0"/>
              </a:rPr>
              <a:t>03</a:t>
            </a:r>
            <a:endParaRPr kumimoji="0" lang="ca-ES" sz="700" b="0" i="0" u="none" strike="noStrike" kern="0" cap="none" spc="0" normalizeH="0" baseline="0" noProof="0" dirty="0">
              <a:ln>
                <a:noFill/>
              </a:ln>
              <a:solidFill>
                <a:srgbClr val="DEA726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DB87609-F590-96A4-B8FA-39B1BF2FF657}"/>
              </a:ext>
            </a:extLst>
          </p:cNvPr>
          <p:cNvSpPr/>
          <p:nvPr/>
        </p:nvSpPr>
        <p:spPr bwMode="gray">
          <a:xfrm>
            <a:off x="11012254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5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FDD563A-F58B-92D5-B5D9-515DE8EBAC80}"/>
              </a:ext>
            </a:extLst>
          </p:cNvPr>
          <p:cNvSpPr/>
          <p:nvPr/>
        </p:nvSpPr>
        <p:spPr bwMode="gray">
          <a:xfrm>
            <a:off x="11559471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6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CE5CA76D-20B4-B78B-1E45-BD36319F447E}"/>
              </a:ext>
            </a:extLst>
          </p:cNvPr>
          <p:cNvSpPr txBox="1">
            <a:spLocks/>
          </p:cNvSpPr>
          <p:nvPr/>
        </p:nvSpPr>
        <p:spPr>
          <a:xfrm>
            <a:off x="484480" y="834325"/>
            <a:ext cx="72307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rgbClr val="DFA726"/>
                </a:solidFill>
                <a:latin typeface="Trebuchet MS"/>
                <a:cs typeface="Trebuchet MS"/>
              </a:defRPr>
            </a:lvl1pPr>
            <a:lvl2pPr marL="179388" indent="-179388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2pPr>
            <a:lvl3pPr marL="360363" indent="-180975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900" b="0" kern="120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3pPr>
            <a:lvl4pPr marL="538163" indent="-1778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900" b="0" kern="1200" baseline="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4pPr>
            <a:lvl5pPr marL="717550" indent="-179388" algn="l" defTabSz="5988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900" b="0" kern="1200" baseline="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a-ES" b="1" dirty="0"/>
              <a:t>FASES DEL PROCESO </a:t>
            </a:r>
            <a:r>
              <a:rPr lang="ca-ES" dirty="0"/>
              <a:t>| </a:t>
            </a:r>
            <a:r>
              <a:rPr lang="ca-ES" dirty="0">
                <a:solidFill>
                  <a:srgbClr val="012169"/>
                </a:solidFill>
              </a:rPr>
              <a:t>Verificación documento de identidad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10C2C2B-1AC4-44C4-ADDB-E7B49C131018}"/>
              </a:ext>
            </a:extLst>
          </p:cNvPr>
          <p:cNvSpPr txBox="1"/>
          <p:nvPr/>
        </p:nvSpPr>
        <p:spPr>
          <a:xfrm>
            <a:off x="500045" y="1299575"/>
            <a:ext cx="7200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>
              <a:buNone/>
            </a:pPr>
            <a:r>
              <a:rPr lang="es-ES" sz="1400" dirty="0">
                <a:solidFill>
                  <a:schemeClr val="tx1">
                    <a:lumMod val="50000"/>
                  </a:schemeClr>
                </a:solidFill>
              </a:rPr>
              <a:t>Fase de validación de identidad mediante la captura y análisis del documento oficial aportado por el usuario, garantizando la autenticidad de la información.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1D8203D-D7F2-FDA1-4356-430C1D153280}"/>
              </a:ext>
            </a:extLst>
          </p:cNvPr>
          <p:cNvSpPr txBox="1"/>
          <p:nvPr/>
        </p:nvSpPr>
        <p:spPr>
          <a:xfrm>
            <a:off x="1282365" y="2083098"/>
            <a:ext cx="56103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>
              <a:buNone/>
            </a:pPr>
            <a:r>
              <a:rPr lang="es-ES" sz="1200" b="1" dirty="0">
                <a:solidFill>
                  <a:srgbClr val="012169"/>
                </a:solidFill>
              </a:rPr>
              <a:t>INFORMACIÓN AL USUARIO SOBRE EL SERVICIO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4EA9C3D-695E-0CAC-E84D-485999A62524}"/>
              </a:ext>
            </a:extLst>
          </p:cNvPr>
          <p:cNvSpPr txBox="1"/>
          <p:nvPr/>
        </p:nvSpPr>
        <p:spPr>
          <a:xfrm>
            <a:off x="7508375" y="2026529"/>
            <a:ext cx="4066110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s-ES" b="1" dirty="0">
                <a:solidFill>
                  <a:srgbClr val="012169"/>
                </a:solidFill>
              </a:rPr>
              <a:t>CAPTURA DEL DOCUMENTO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Escaneo automático del documento de identidad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Posibilidad de captura manual en caso de error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Flujo guiado con indicaciones visuales en pantalla</a:t>
            </a:r>
          </a:p>
          <a:p>
            <a:pPr marL="0" indent="0">
              <a:spcAft>
                <a:spcPts val="600"/>
              </a:spcAft>
              <a:buNone/>
            </a:pPr>
            <a:endParaRPr lang="es-ES" sz="600" dirty="0">
              <a:solidFill>
                <a:srgbClr val="012169"/>
              </a:solidFill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es-ES" b="1" dirty="0">
                <a:solidFill>
                  <a:srgbClr val="012169"/>
                </a:solidFill>
              </a:rPr>
              <a:t>CONTROL DE CALIDAD DE LA IMAGEN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Buena iluminación.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Documento completo dentro del marco.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Ausencia de reflejos u obstáculos.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Validación automática de calidad (threshold mínimo).</a:t>
            </a:r>
          </a:p>
          <a:p>
            <a:pPr marL="0" indent="0">
              <a:spcAft>
                <a:spcPts val="600"/>
              </a:spcAft>
              <a:buNone/>
            </a:pPr>
            <a:endParaRPr lang="es-ES" sz="500" dirty="0">
              <a:solidFill>
                <a:srgbClr val="012169"/>
              </a:solidFill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es-ES" b="1" dirty="0">
                <a:solidFill>
                  <a:srgbClr val="012169"/>
                </a:solidFill>
              </a:rPr>
              <a:t>EXTRACCIÓN Y TRATAMIENTO DE DATOS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Lectura automática de la información del documento.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Obtención de datos clave: Nombre, apellidos, número de documento, fecha de nacimiento, nacionalidad, etc.</a:t>
            </a:r>
          </a:p>
          <a:p>
            <a:pPr marL="0" indent="0">
              <a:spcAft>
                <a:spcPts val="600"/>
              </a:spcAft>
              <a:buNone/>
            </a:pPr>
            <a:endParaRPr lang="es-ES" sz="600" dirty="0">
              <a:solidFill>
                <a:srgbClr val="012169"/>
              </a:solidFill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es-ES" b="1" dirty="0">
                <a:solidFill>
                  <a:srgbClr val="012169"/>
                </a:solidFill>
              </a:rPr>
              <a:t>REVISIÓN POR PARTE DEL USUARIO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Visualización de los datos extraídos.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Posibilidad de edición para corregir errores.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CE704929-85EB-1065-6A83-C95D81B057D6}"/>
              </a:ext>
            </a:extLst>
          </p:cNvPr>
          <p:cNvCxnSpPr>
            <a:cxnSpLocks/>
          </p:cNvCxnSpPr>
          <p:nvPr/>
        </p:nvCxnSpPr>
        <p:spPr>
          <a:xfrm>
            <a:off x="1282365" y="2445985"/>
            <a:ext cx="3950035" cy="0"/>
          </a:xfrm>
          <a:prstGeom prst="line">
            <a:avLst/>
          </a:prstGeom>
          <a:ln>
            <a:solidFill>
              <a:srgbClr val="FDC1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2026F37E-5B2F-A2CB-B941-EE1D813200E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2165" b="8844"/>
          <a:stretch>
            <a:fillRect/>
          </a:stretch>
        </p:blipFill>
        <p:spPr>
          <a:xfrm>
            <a:off x="500045" y="2749654"/>
            <a:ext cx="6035839" cy="3178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341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BAE031-2CB4-73DB-0B9B-4F300BF597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816C18D-8846-64AF-18AC-8696876EB30F}"/>
              </a:ext>
            </a:extLst>
          </p:cNvPr>
          <p:cNvCxnSpPr>
            <a:cxnSpLocks/>
          </p:cNvCxnSpPr>
          <p:nvPr/>
        </p:nvCxnSpPr>
        <p:spPr>
          <a:xfrm>
            <a:off x="8906687" y="1066058"/>
            <a:ext cx="3276000" cy="0"/>
          </a:xfrm>
          <a:prstGeom prst="line">
            <a:avLst/>
          </a:prstGeom>
          <a:noFill/>
          <a:ln w="12700" cap="flat" cmpd="sng" algn="ctr">
            <a:solidFill>
              <a:srgbClr val="FDC124"/>
            </a:solidFill>
            <a:prstDash val="solid"/>
          </a:ln>
          <a:effectLst/>
        </p:spPr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5916AC50-C957-AC11-5079-CDD2EC42C41A}"/>
              </a:ext>
            </a:extLst>
          </p:cNvPr>
          <p:cNvSpPr/>
          <p:nvPr/>
        </p:nvSpPr>
        <p:spPr bwMode="gray">
          <a:xfrm>
            <a:off x="8823382" y="904058"/>
            <a:ext cx="324000" cy="32400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F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FA726"/>
                </a:solidFill>
                <a:effectLst/>
                <a:uLnTx/>
                <a:uFillTx/>
                <a:latin typeface="Aptos" panose="020B0004020202020204" pitchFamily="34" charset="0"/>
              </a:rPr>
              <a:t>0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5EE3793B-4D8F-32C7-C59C-135291C3DFDA}"/>
              </a:ext>
            </a:extLst>
          </p:cNvPr>
          <p:cNvSpPr/>
          <p:nvPr/>
        </p:nvSpPr>
        <p:spPr bwMode="gray">
          <a:xfrm>
            <a:off x="9370600" y="904058"/>
            <a:ext cx="324000" cy="32400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2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40FAF44-B5F4-72A0-1294-20548B659E40}"/>
              </a:ext>
            </a:extLst>
          </p:cNvPr>
          <p:cNvSpPr/>
          <p:nvPr/>
        </p:nvSpPr>
        <p:spPr bwMode="gray">
          <a:xfrm>
            <a:off x="10465036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4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D7C1D3F-8F54-1F78-E6CB-5E12800E21D9}"/>
              </a:ext>
            </a:extLst>
          </p:cNvPr>
          <p:cNvSpPr/>
          <p:nvPr/>
        </p:nvSpPr>
        <p:spPr bwMode="gray">
          <a:xfrm>
            <a:off x="9917818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ca-ES" sz="700" kern="0" dirty="0">
                <a:solidFill>
                  <a:srgbClr val="DEA726"/>
                </a:solidFill>
                <a:latin typeface="Aptos" panose="020B0004020202020204" pitchFamily="34" charset="0"/>
              </a:rPr>
              <a:t>03</a:t>
            </a:r>
            <a:endParaRPr kumimoji="0" lang="ca-ES" sz="700" b="0" i="0" u="none" strike="noStrike" kern="0" cap="none" spc="0" normalizeH="0" baseline="0" noProof="0" dirty="0">
              <a:ln>
                <a:noFill/>
              </a:ln>
              <a:solidFill>
                <a:srgbClr val="DEA726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05C466E-B035-8941-0E1D-ADE600E90A51}"/>
              </a:ext>
            </a:extLst>
          </p:cNvPr>
          <p:cNvSpPr/>
          <p:nvPr/>
        </p:nvSpPr>
        <p:spPr bwMode="gray">
          <a:xfrm>
            <a:off x="11012254" y="904058"/>
            <a:ext cx="324000" cy="324000"/>
          </a:xfrm>
          <a:prstGeom prst="ellipse">
            <a:avLst/>
          </a:prstGeom>
          <a:solidFill>
            <a:srgbClr val="DFA726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</a:rPr>
              <a:t>05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29512006-0A2B-5308-FB66-7CBEC49E71F4}"/>
              </a:ext>
            </a:extLst>
          </p:cNvPr>
          <p:cNvSpPr/>
          <p:nvPr/>
        </p:nvSpPr>
        <p:spPr bwMode="gray">
          <a:xfrm>
            <a:off x="11559471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6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196510E7-AD36-10E1-178B-FFB133B55F6D}"/>
              </a:ext>
            </a:extLst>
          </p:cNvPr>
          <p:cNvSpPr txBox="1">
            <a:spLocks/>
          </p:cNvSpPr>
          <p:nvPr/>
        </p:nvSpPr>
        <p:spPr>
          <a:xfrm>
            <a:off x="484481" y="834325"/>
            <a:ext cx="75165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rgbClr val="DFA726"/>
                </a:solidFill>
                <a:latin typeface="Trebuchet MS"/>
                <a:cs typeface="Trebuchet MS"/>
              </a:defRPr>
            </a:lvl1pPr>
            <a:lvl2pPr marL="179388" indent="-179388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2pPr>
            <a:lvl3pPr marL="360363" indent="-180975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900" b="0" kern="120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3pPr>
            <a:lvl4pPr marL="538163" indent="-1778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900" b="0" kern="1200" baseline="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4pPr>
            <a:lvl5pPr marL="717550" indent="-179388" algn="l" defTabSz="5988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900" b="0" kern="1200" baseline="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a-ES" b="1" dirty="0"/>
              <a:t>FASES DEL PROCESO </a:t>
            </a:r>
            <a:r>
              <a:rPr lang="ca-ES" dirty="0"/>
              <a:t>| </a:t>
            </a:r>
            <a:r>
              <a:rPr lang="ca-ES" dirty="0">
                <a:solidFill>
                  <a:srgbClr val="012169"/>
                </a:solidFill>
              </a:rPr>
              <a:t>Verificación biométrica (Selfie)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E99CA8B-B6CE-1C3F-8D30-BE9AFDC3CB97}"/>
              </a:ext>
            </a:extLst>
          </p:cNvPr>
          <p:cNvSpPr txBox="1"/>
          <p:nvPr/>
        </p:nvSpPr>
        <p:spPr>
          <a:xfrm>
            <a:off x="500045" y="1299575"/>
            <a:ext cx="7200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>
              <a:buNone/>
            </a:pPr>
            <a:r>
              <a:rPr lang="es-ES" sz="1400" dirty="0">
                <a:solidFill>
                  <a:schemeClr val="tx1">
                    <a:lumMod val="50000"/>
                  </a:schemeClr>
                </a:solidFill>
              </a:rPr>
              <a:t>Fase de validación avanzada de identidad mediante biometría facial y pruebas de vida, asegurando que el usuario es una persona real y coincide con el documento aportado.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F22BF55-CD5F-A466-EE77-8DE8F382A706}"/>
              </a:ext>
            </a:extLst>
          </p:cNvPr>
          <p:cNvSpPr txBox="1"/>
          <p:nvPr/>
        </p:nvSpPr>
        <p:spPr>
          <a:xfrm>
            <a:off x="601226" y="2083098"/>
            <a:ext cx="56103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>
              <a:buNone/>
            </a:pPr>
            <a:r>
              <a:rPr lang="es-ES" sz="1200" b="1" dirty="0">
                <a:solidFill>
                  <a:srgbClr val="012169"/>
                </a:solidFill>
              </a:rPr>
              <a:t>CAPTURA DE SELFIE (PRUEBA DE VIDA)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4B69B7A-F811-1032-6B22-CAA0457648D6}"/>
              </a:ext>
            </a:extLst>
          </p:cNvPr>
          <p:cNvSpPr txBox="1"/>
          <p:nvPr/>
        </p:nvSpPr>
        <p:spPr>
          <a:xfrm>
            <a:off x="601226" y="2516859"/>
            <a:ext cx="561030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Activación de la cámara para reconocimiento facia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Realización de gestos aleatorios guiados en pantall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Posicionamiento del rostro dentro del marco indicado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12169"/>
                </a:solidFill>
              </a:rPr>
              <a:t>Validación en tiempo real de la presencia del usuario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CF17703-0389-1856-5E88-E9B5946BD51E}"/>
              </a:ext>
            </a:extLst>
          </p:cNvPr>
          <p:cNvCxnSpPr>
            <a:cxnSpLocks/>
          </p:cNvCxnSpPr>
          <p:nvPr/>
        </p:nvCxnSpPr>
        <p:spPr>
          <a:xfrm>
            <a:off x="601226" y="2445985"/>
            <a:ext cx="3950035" cy="0"/>
          </a:xfrm>
          <a:prstGeom prst="line">
            <a:avLst/>
          </a:prstGeom>
          <a:ln>
            <a:solidFill>
              <a:srgbClr val="FDC1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64B19EDC-7030-894E-3355-59F145831F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795" y="3532791"/>
            <a:ext cx="3181987" cy="2152022"/>
          </a:xfrm>
          <a:prstGeom prst="rect">
            <a:avLst/>
          </a:prstGeom>
        </p:spPr>
      </p:pic>
      <p:pic>
        <p:nvPicPr>
          <p:cNvPr id="7" name="Google Shape;199;p18">
            <a:extLst>
              <a:ext uri="{FF2B5EF4-FFF2-40B4-BE49-F238E27FC236}">
                <a16:creationId xmlns:a16="http://schemas.microsoft.com/office/drawing/2014/main" id="{DF2CCB61-3527-7DD7-E133-3685C98C2DED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78522" y="3886195"/>
            <a:ext cx="2492230" cy="256357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930D1B4-A9E7-834C-D1D0-B0FF79ED437D}"/>
              </a:ext>
            </a:extLst>
          </p:cNvPr>
          <p:cNvSpPr/>
          <p:nvPr/>
        </p:nvSpPr>
        <p:spPr bwMode="gray">
          <a:xfrm>
            <a:off x="6274956" y="2057478"/>
            <a:ext cx="5226249" cy="4222024"/>
          </a:xfrm>
          <a:prstGeom prst="roundRect">
            <a:avLst>
              <a:gd name="adj" fmla="val 3708"/>
            </a:avLst>
          </a:prstGeom>
          <a:solidFill>
            <a:srgbClr val="F6F8F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E24A6B-26E2-4FE7-2BED-FEED97C52E07}"/>
              </a:ext>
            </a:extLst>
          </p:cNvPr>
          <p:cNvSpPr txBox="1"/>
          <p:nvPr/>
        </p:nvSpPr>
        <p:spPr>
          <a:xfrm>
            <a:off x="7084378" y="2228324"/>
            <a:ext cx="4116092" cy="9810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0" algn="just">
              <a:buFont typeface="Wingdings" panose="05000000000000000000" pitchFamily="2" charset="2"/>
              <a:buNone/>
              <a:defRPr sz="1200">
                <a:solidFill>
                  <a:srgbClr val="012169"/>
                </a:solidFill>
                <a:latin typeface="Trebuchet MS" panose="020B0603020202020204" pitchFamily="34" charset="0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>
              <a:lnSpc>
                <a:spcPct val="150000"/>
              </a:lnSpc>
            </a:pPr>
            <a:r>
              <a:rPr lang="es-ES_tradnl" sz="1050" b="1" dirty="0"/>
              <a:t>Verificación por vídeo</a:t>
            </a:r>
            <a:endParaRPr lang="en-GB" sz="105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50" dirty="0"/>
              <a:t>Grabación de secuencia corta con instrucciones: </a:t>
            </a:r>
            <a:r>
              <a:rPr lang="es-ES" sz="1050" dirty="0">
                <a:solidFill>
                  <a:srgbClr val="012169"/>
                </a:solidFill>
                <a:latin typeface="Trebuchet MS" panose="020B0603020202020204" pitchFamily="34" charset="0"/>
                <a:cs typeface="+mn-cs"/>
              </a:rPr>
              <a:t>Pronunciar nombre y apellidos y mostrar documento de identidad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50" dirty="0"/>
              <a:t>Uso combinado de imagen y voz como refuerzo de identid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50" dirty="0"/>
              <a:t>Confirmación de permisos de cámara </a:t>
            </a:r>
            <a:endParaRPr lang="en-GB" sz="105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4D87DB-BE5F-29A0-216A-FE3A1062CF75}"/>
              </a:ext>
            </a:extLst>
          </p:cNvPr>
          <p:cNvSpPr txBox="1"/>
          <p:nvPr/>
        </p:nvSpPr>
        <p:spPr>
          <a:xfrm>
            <a:off x="7084378" y="3476816"/>
            <a:ext cx="4116092" cy="103220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0" algn="just">
              <a:buFont typeface="Wingdings" panose="05000000000000000000" pitchFamily="2" charset="2"/>
              <a:buNone/>
              <a:defRPr sz="1200">
                <a:solidFill>
                  <a:srgbClr val="012169"/>
                </a:solidFill>
                <a:latin typeface="Trebuchet MS" panose="020B0603020202020204" pitchFamily="34" charset="0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algn="l">
              <a:lnSpc>
                <a:spcPct val="150000"/>
              </a:lnSpc>
            </a:pPr>
            <a:r>
              <a:rPr lang="es-ES" sz="1050" b="1" dirty="0"/>
              <a:t>Validación biométrica</a:t>
            </a:r>
          </a:p>
          <a:p>
            <a:pPr marL="17145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1050" dirty="0"/>
              <a:t>Comparación entre el rostro capturado y el documento</a:t>
            </a:r>
          </a:p>
          <a:p>
            <a:pPr marL="17145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1050" dirty="0"/>
              <a:t>Detección de fraude mediante prueba de vida</a:t>
            </a:r>
          </a:p>
          <a:p>
            <a:pPr marL="17145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1050" dirty="0"/>
              <a:t>Generación de evidencias digitales </a:t>
            </a:r>
            <a:endParaRPr lang="es-ES" sz="1050" dirty="0">
              <a:solidFill>
                <a:srgbClr val="012169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9B7919-36C5-B7CA-540D-C09318F2D120}"/>
              </a:ext>
            </a:extLst>
          </p:cNvPr>
          <p:cNvSpPr txBox="1"/>
          <p:nvPr/>
        </p:nvSpPr>
        <p:spPr>
          <a:xfrm>
            <a:off x="7084379" y="4785390"/>
            <a:ext cx="3927876" cy="127458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0" algn="just">
              <a:buFont typeface="Wingdings" panose="05000000000000000000" pitchFamily="2" charset="2"/>
              <a:buNone/>
              <a:defRPr sz="1200">
                <a:solidFill>
                  <a:srgbClr val="012169"/>
                </a:solidFill>
                <a:latin typeface="Trebuchet MS" panose="020B0603020202020204" pitchFamily="34" charset="0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algn="l">
              <a:lnSpc>
                <a:spcPct val="150000"/>
              </a:lnSpc>
            </a:pPr>
            <a:r>
              <a:rPr lang="es-ES" sz="1050" b="1" dirty="0"/>
              <a:t>Confirmación del registro</a:t>
            </a:r>
          </a:p>
          <a:p>
            <a:pPr marL="17145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1050" dirty="0"/>
              <a:t>Validación de que todas las pruebas se han completado correctamente</a:t>
            </a:r>
          </a:p>
          <a:p>
            <a:pPr marL="17145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1050" dirty="0"/>
              <a:t>Paso previo a la finalización de la solicitud</a:t>
            </a:r>
          </a:p>
          <a:p>
            <a:pPr marL="17145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1050" dirty="0"/>
              <a:t>Refuerzo de seguridad en entorno no 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9780D35-4261-891E-722E-D6D100E7085C}"/>
              </a:ext>
            </a:extLst>
          </p:cNvPr>
          <p:cNvCxnSpPr>
            <a:cxnSpLocks/>
          </p:cNvCxnSpPr>
          <p:nvPr/>
        </p:nvCxnSpPr>
        <p:spPr>
          <a:xfrm>
            <a:off x="6541413" y="3366051"/>
            <a:ext cx="4810125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D219D99-B20B-3DAB-4199-0C0A97241060}"/>
              </a:ext>
            </a:extLst>
          </p:cNvPr>
          <p:cNvCxnSpPr>
            <a:cxnSpLocks/>
          </p:cNvCxnSpPr>
          <p:nvPr/>
        </p:nvCxnSpPr>
        <p:spPr>
          <a:xfrm>
            <a:off x="6572622" y="4670173"/>
            <a:ext cx="4810125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7413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15AF58-28D7-8FD8-054A-A9A1BDBED2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F3DEE9B-1745-D3F1-DB65-C44CB05BFA29}"/>
              </a:ext>
            </a:extLst>
          </p:cNvPr>
          <p:cNvCxnSpPr>
            <a:cxnSpLocks/>
          </p:cNvCxnSpPr>
          <p:nvPr/>
        </p:nvCxnSpPr>
        <p:spPr>
          <a:xfrm>
            <a:off x="8906687" y="1066058"/>
            <a:ext cx="3276000" cy="0"/>
          </a:xfrm>
          <a:prstGeom prst="line">
            <a:avLst/>
          </a:prstGeom>
          <a:noFill/>
          <a:ln w="12700" cap="flat" cmpd="sng" algn="ctr">
            <a:solidFill>
              <a:srgbClr val="FDC124"/>
            </a:solidFill>
            <a:prstDash val="solid"/>
          </a:ln>
          <a:effectLst/>
        </p:spPr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30088F38-D174-8CCD-E492-A09C03BACAC6}"/>
              </a:ext>
            </a:extLst>
          </p:cNvPr>
          <p:cNvSpPr/>
          <p:nvPr/>
        </p:nvSpPr>
        <p:spPr bwMode="gray">
          <a:xfrm>
            <a:off x="8823382" y="904058"/>
            <a:ext cx="324000" cy="32400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F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FA726"/>
                </a:solidFill>
                <a:effectLst/>
                <a:uLnTx/>
                <a:uFillTx/>
                <a:latin typeface="Aptos" panose="020B0004020202020204" pitchFamily="34" charset="0"/>
              </a:rPr>
              <a:t>0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AC388E4-6E0E-389E-D3CF-3257A094ACF5}"/>
              </a:ext>
            </a:extLst>
          </p:cNvPr>
          <p:cNvSpPr/>
          <p:nvPr/>
        </p:nvSpPr>
        <p:spPr bwMode="gray">
          <a:xfrm>
            <a:off x="9370600" y="904058"/>
            <a:ext cx="324000" cy="32400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2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3DCAEDF7-3962-5393-2E90-14A13D03EB45}"/>
              </a:ext>
            </a:extLst>
          </p:cNvPr>
          <p:cNvSpPr/>
          <p:nvPr/>
        </p:nvSpPr>
        <p:spPr bwMode="gray">
          <a:xfrm>
            <a:off x="10465036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4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FCB22E2-2E06-E135-1985-B0978A0591A2}"/>
              </a:ext>
            </a:extLst>
          </p:cNvPr>
          <p:cNvSpPr/>
          <p:nvPr/>
        </p:nvSpPr>
        <p:spPr bwMode="gray">
          <a:xfrm>
            <a:off x="9917818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ca-ES" sz="700" kern="0" dirty="0">
                <a:solidFill>
                  <a:srgbClr val="DEA726"/>
                </a:solidFill>
                <a:latin typeface="Aptos" panose="020B0004020202020204" pitchFamily="34" charset="0"/>
              </a:rPr>
              <a:t>03</a:t>
            </a:r>
            <a:endParaRPr kumimoji="0" lang="ca-ES" sz="700" b="0" i="0" u="none" strike="noStrike" kern="0" cap="none" spc="0" normalizeH="0" baseline="0" noProof="0" dirty="0">
              <a:ln>
                <a:noFill/>
              </a:ln>
              <a:solidFill>
                <a:srgbClr val="DEA726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DB87609-F590-96A4-B8FA-39B1BF2FF657}"/>
              </a:ext>
            </a:extLst>
          </p:cNvPr>
          <p:cNvSpPr/>
          <p:nvPr/>
        </p:nvSpPr>
        <p:spPr bwMode="gray">
          <a:xfrm>
            <a:off x="11012254" y="904058"/>
            <a:ext cx="324000" cy="324000"/>
          </a:xfrm>
          <a:prstGeom prst="ellipse">
            <a:avLst/>
          </a:prstGeom>
          <a:solidFill>
            <a:sysClr val="window" lastClr="FFFFFF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rgbClr val="DEA726"/>
                </a:solidFill>
                <a:effectLst/>
                <a:uLnTx/>
                <a:uFillTx/>
                <a:latin typeface="Aptos" panose="020B0004020202020204" pitchFamily="34" charset="0"/>
              </a:rPr>
              <a:t>05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FDD563A-F58B-92D5-B5D9-515DE8EBAC80}"/>
              </a:ext>
            </a:extLst>
          </p:cNvPr>
          <p:cNvSpPr/>
          <p:nvPr/>
        </p:nvSpPr>
        <p:spPr bwMode="gray">
          <a:xfrm>
            <a:off x="11559471" y="904058"/>
            <a:ext cx="324000" cy="324000"/>
          </a:xfrm>
          <a:prstGeom prst="ellipse">
            <a:avLst/>
          </a:prstGeom>
          <a:solidFill>
            <a:srgbClr val="DFA726"/>
          </a:solidFill>
          <a:ln w="12700" algn="ctr">
            <a:solidFill>
              <a:srgbClr val="DEA726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</a:rPr>
              <a:t>Fase</a:t>
            </a:r>
          </a:p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ca-ES" sz="7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</a:rPr>
              <a:t>06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CE5CA76D-20B4-B78B-1E45-BD36319F447E}"/>
              </a:ext>
            </a:extLst>
          </p:cNvPr>
          <p:cNvSpPr txBox="1">
            <a:spLocks/>
          </p:cNvSpPr>
          <p:nvPr/>
        </p:nvSpPr>
        <p:spPr>
          <a:xfrm>
            <a:off x="484481" y="834325"/>
            <a:ext cx="6306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rgbClr val="DFA726"/>
                </a:solidFill>
                <a:latin typeface="Trebuchet MS"/>
                <a:cs typeface="Trebuchet MS"/>
              </a:defRPr>
            </a:lvl1pPr>
            <a:lvl2pPr marL="179388" indent="-179388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2pPr>
            <a:lvl3pPr marL="360363" indent="-180975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900" b="0" kern="120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3pPr>
            <a:lvl4pPr marL="538163" indent="-1778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900" b="0" kern="1200" baseline="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4pPr>
            <a:lvl5pPr marL="717550" indent="-179388" algn="l" defTabSz="5988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900" b="0" kern="1200" baseline="0" dirty="0" smtClean="0">
                <a:solidFill>
                  <a:schemeClr val="tx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a-ES" b="1" dirty="0"/>
              <a:t>FASES DEL PROCESO </a:t>
            </a:r>
            <a:r>
              <a:rPr lang="ca-ES" dirty="0"/>
              <a:t>| </a:t>
            </a:r>
            <a:r>
              <a:rPr lang="ca-ES" dirty="0">
                <a:solidFill>
                  <a:srgbClr val="012169"/>
                </a:solidFill>
              </a:rPr>
              <a:t>Resolución de la solicitud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10C2C2B-1AC4-44C4-ADDB-E7B49C131018}"/>
              </a:ext>
            </a:extLst>
          </p:cNvPr>
          <p:cNvSpPr txBox="1"/>
          <p:nvPr/>
        </p:nvSpPr>
        <p:spPr>
          <a:xfrm>
            <a:off x="500044" y="1299575"/>
            <a:ext cx="7200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>
              <a:buNone/>
            </a:pPr>
            <a:r>
              <a:rPr lang="es-ES" sz="1400" dirty="0">
                <a:solidFill>
                  <a:schemeClr val="tx1">
                    <a:lumMod val="50000"/>
                  </a:schemeClr>
                </a:solidFill>
              </a:rPr>
              <a:t>Fase final del proceso en la que se completa la información necesaria, se revisa el expediente y se comunica el resultado al usuario.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4EA9C3D-695E-0CAC-E84D-485999A62524}"/>
              </a:ext>
            </a:extLst>
          </p:cNvPr>
          <p:cNvSpPr txBox="1"/>
          <p:nvPr/>
        </p:nvSpPr>
        <p:spPr>
          <a:xfrm>
            <a:off x="561435" y="3089076"/>
            <a:ext cx="2870125" cy="143116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 algn="l">
              <a:buNone/>
            </a:pPr>
            <a:r>
              <a:rPr lang="es-ES" sz="1100" b="1" dirty="0">
                <a:solidFill>
                  <a:srgbClr val="DFA726"/>
                </a:solidFill>
              </a:rPr>
              <a:t>ASOCIACIÓN CON EL SISTEMA SANITARIO</a:t>
            </a:r>
          </a:p>
          <a:p>
            <a:pPr marL="0" indent="0" algn="l">
              <a:buNone/>
            </a:pPr>
            <a:endParaRPr lang="es-ES" sz="1100" b="1" dirty="0">
              <a:solidFill>
                <a:srgbClr val="012169"/>
              </a:solidFill>
            </a:endParaRPr>
          </a:p>
          <a:p>
            <a:pPr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srgbClr val="012169"/>
                </a:solidFill>
              </a:rPr>
              <a:t>Introducción del Código de Identificación Autonómico (CIA)</a:t>
            </a:r>
          </a:p>
          <a:p>
            <a:pPr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srgbClr val="012169"/>
                </a:solidFill>
              </a:rPr>
              <a:t>Vinculación de la identidad validada con el registro sanitario </a:t>
            </a:r>
          </a:p>
          <a:p>
            <a:pPr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srgbClr val="012169"/>
                </a:solidFill>
              </a:rPr>
              <a:t>Base para el acceso a servicios de salud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050C831-2A26-6272-E9A9-AFAC9E5703ED}"/>
              </a:ext>
            </a:extLst>
          </p:cNvPr>
          <p:cNvSpPr/>
          <p:nvPr/>
        </p:nvSpPr>
        <p:spPr>
          <a:xfrm>
            <a:off x="561435" y="2500716"/>
            <a:ext cx="11069130" cy="34416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4" tIns="22857" rIns="45714" bIns="2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554"/>
            <a:endParaRPr lang="en-US" sz="900" dirty="0">
              <a:solidFill>
                <a:srgbClr val="FFFFFF"/>
              </a:solidFill>
              <a:latin typeface="Bahnschrift" panose="020B0502040204020203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AA03F859-2F9D-4407-06F6-2B9496143A07}"/>
              </a:ext>
            </a:extLst>
          </p:cNvPr>
          <p:cNvSpPr txBox="1"/>
          <p:nvPr/>
        </p:nvSpPr>
        <p:spPr>
          <a:xfrm>
            <a:off x="3799313" y="3089076"/>
            <a:ext cx="234651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 algn="l">
              <a:buNone/>
            </a:pPr>
            <a:r>
              <a:rPr lang="es-ES" sz="1100" b="1" dirty="0">
                <a:solidFill>
                  <a:srgbClr val="DFA726"/>
                </a:solidFill>
              </a:rPr>
              <a:t>CIERRE DEL PROCESO</a:t>
            </a:r>
          </a:p>
          <a:p>
            <a:pPr marL="0" indent="0" algn="l">
              <a:buNone/>
            </a:pPr>
            <a:endParaRPr lang="es-ES" sz="1100" b="1" dirty="0">
              <a:solidFill>
                <a:srgbClr val="012169"/>
              </a:solidFill>
            </a:endParaRPr>
          </a:p>
          <a:p>
            <a:pPr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srgbClr val="012169"/>
                </a:solidFill>
              </a:rPr>
              <a:t>Finalización de la solicitud de PIN Salud</a:t>
            </a:r>
          </a:p>
          <a:p>
            <a:pPr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srgbClr val="012169"/>
                </a:solidFill>
              </a:rPr>
              <a:t>Envío del expediente a revisión, en su caso.</a:t>
            </a:r>
          </a:p>
          <a:p>
            <a:pPr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srgbClr val="012169"/>
                </a:solidFill>
              </a:rPr>
              <a:t>Confirmación de finalización del flujo por parte del usuario 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FFF83156-F40D-57F8-6198-15F2643DECA9}"/>
              </a:ext>
            </a:extLst>
          </p:cNvPr>
          <p:cNvSpPr txBox="1"/>
          <p:nvPr/>
        </p:nvSpPr>
        <p:spPr>
          <a:xfrm>
            <a:off x="9115531" y="3089076"/>
            <a:ext cx="2515034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 algn="l">
              <a:buNone/>
            </a:pPr>
            <a:r>
              <a:rPr lang="es-ES" sz="1100" b="1" dirty="0">
                <a:solidFill>
                  <a:srgbClr val="DFA726"/>
                </a:solidFill>
              </a:rPr>
              <a:t>COMUNICACIÓN AL USUARIO</a:t>
            </a:r>
          </a:p>
          <a:p>
            <a:pPr marL="0" indent="0" algn="l">
              <a:buNone/>
            </a:pPr>
            <a:endParaRPr lang="es-ES" sz="1100" b="1" dirty="0">
              <a:solidFill>
                <a:srgbClr val="012169"/>
              </a:solidFill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srgbClr val="012169"/>
                </a:solidFill>
              </a:rPr>
              <a:t>Envío de notificación por correo electrónico: Solicitud aceptada/rechazada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srgbClr val="012169"/>
                </a:solidFill>
              </a:rPr>
              <a:t>Error técnico o de datos 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srgbClr val="012169"/>
                </a:solidFill>
              </a:rPr>
              <a:t>Información clara sobre el estado final del proceso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3CE12261-30D1-248E-E1E1-2F3D658AF3E4}"/>
              </a:ext>
            </a:extLst>
          </p:cNvPr>
          <p:cNvSpPr txBox="1"/>
          <p:nvPr/>
        </p:nvSpPr>
        <p:spPr>
          <a:xfrm>
            <a:off x="6513582" y="3089076"/>
            <a:ext cx="2234195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Wingdings" panose="05000000000000000000" pitchFamily="2" charset="2"/>
              <a:buChar char="q"/>
              <a:defRPr sz="1050">
                <a:solidFill>
                  <a:srgbClr val="041E42"/>
                </a:solidFill>
                <a:latin typeface="Trebuchet MS"/>
              </a:defRPr>
            </a:lvl1pPr>
            <a:lvl2pPr marL="10477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 b="1">
                <a:latin typeface="+mj-lt"/>
                <a:cs typeface="Calibri Light" panose="020F0302020204030204" pitchFamily="34" charset="0"/>
              </a:defRPr>
            </a:lvl2pPr>
            <a:lvl3pPr marL="228600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cs typeface="Calibri Light" panose="020F0302020204030204" pitchFamily="34" charset="0"/>
              </a:defRPr>
            </a:lvl3pPr>
            <a:lvl4pPr marL="352425" indent="-104775" defTabSz="685800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 baseline="0">
                <a:cs typeface="Calibri Light" panose="020F0302020204030204" pitchFamily="34" charset="0"/>
              </a:defRPr>
            </a:lvl4pPr>
            <a:lvl5pPr marL="476250" indent="-104775" defTabSz="598885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sz="1200" baseline="0">
                <a:cs typeface="Calibri Light" panose="020F0302020204030204" pitchFamily="34" charset="0"/>
              </a:defRPr>
            </a:lvl5pPr>
            <a:lvl6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6pPr>
            <a:lvl7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/>
            </a:lvl7pPr>
            <a:lvl8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8pPr>
            <a:lvl9pPr marL="399600" indent="-132300" defTabSz="685800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baseline="0"/>
            </a:lvl9pPr>
          </a:lstStyle>
          <a:p>
            <a:pPr marL="0" indent="0" algn="l">
              <a:buNone/>
            </a:pPr>
            <a:r>
              <a:rPr lang="es-ES" sz="1100" b="1" dirty="0">
                <a:solidFill>
                  <a:srgbClr val="DFA726"/>
                </a:solidFill>
              </a:rPr>
              <a:t>EVALUACIÓN Y RESOLUCIÓN</a:t>
            </a:r>
          </a:p>
          <a:p>
            <a:pPr marL="0" indent="0" algn="l">
              <a:buNone/>
            </a:pPr>
            <a:endParaRPr lang="es-ES" sz="1100" b="1" dirty="0">
              <a:solidFill>
                <a:srgbClr val="012169"/>
              </a:solidFill>
            </a:endParaRPr>
          </a:p>
          <a:p>
            <a:pPr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srgbClr val="012169"/>
                </a:solidFill>
              </a:rPr>
              <a:t>Validación de toda la información recopilada</a:t>
            </a:r>
          </a:p>
          <a:p>
            <a:pPr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srgbClr val="012169"/>
                </a:solidFill>
              </a:rPr>
              <a:t>Análisis de evidencias (documentales y biométricas)</a:t>
            </a:r>
          </a:p>
          <a:p>
            <a:pPr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srgbClr val="012169"/>
                </a:solidFill>
              </a:rPr>
              <a:t>Determinación del resultado de la solicitud</a:t>
            </a:r>
          </a:p>
        </p:txBody>
      </p:sp>
    </p:spTree>
    <p:extLst>
      <p:ext uri="{BB962C8B-B14F-4D97-AF65-F5344CB8AC3E}">
        <p14:creationId xmlns:p14="http://schemas.microsoft.com/office/powerpoint/2010/main" val="3987241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dpulidovicente\AppData\Local\Templafy\AddIns\PowerPointVsto\DELOITTE - PRIMARIO.p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 26">
  <a:themeElements>
    <a:clrScheme name="Custom 1">
      <a:dk1>
        <a:srgbClr val="6C6C6C"/>
      </a:dk1>
      <a:lt1>
        <a:sysClr val="window" lastClr="FFFFFF"/>
      </a:lt1>
      <a:dk2>
        <a:srgbClr val="DEA726"/>
      </a:dk2>
      <a:lt2>
        <a:srgbClr val="EEECE1"/>
      </a:lt2>
      <a:accent1>
        <a:srgbClr val="FFC12E"/>
      </a:accent1>
      <a:accent2>
        <a:srgbClr val="FFC12E"/>
      </a:accent2>
      <a:accent3>
        <a:srgbClr val="F29E28"/>
      </a:accent3>
      <a:accent4>
        <a:srgbClr val="E2B123"/>
      </a:accent4>
      <a:accent5>
        <a:srgbClr val="7E6313"/>
      </a:accent5>
      <a:accent6>
        <a:srgbClr val="FF3502"/>
      </a:accent6>
      <a:hlink>
        <a:srgbClr val="325FFF"/>
      </a:hlink>
      <a:folHlink>
        <a:srgbClr val="1A3E4A"/>
      </a:folHlink>
    </a:clrScheme>
    <a:fontScheme name="Custom 1">
      <a:majorFont>
        <a:latin typeface="Aptos"/>
        <a:ea typeface=""/>
        <a:cs typeface=""/>
      </a:majorFont>
      <a:minorFont>
        <a:latin typeface="Apto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5">
      <a:srgbClr val="009A44"/>
    </a:custClr>
    <a:custClr name="Green 4">
      <a:srgbClr val="43B02A"/>
    </a:custClr>
    <a:custClr name="Green 2">
      <a:srgbClr val="C4D600"/>
    </a:custClr>
    <a:custClr name="Green 1">
      <a:srgbClr val="E3E48D"/>
    </a:custClr>
    <a:custClr name="Teal 8">
      <a:srgbClr val="0D8390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8">
      <a:srgbClr val="007CB0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Bright Teal">
      <a:srgbClr val="3EFAC5"/>
    </a:custClr>
    <a:custClr name="Bright Blue">
      <a:srgbClr val="33F0FF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 26" id="{77CC047E-75E7-44F2-8D5B-D26C28F77453}" vid="{B03124D8-54B8-469A-9EF0-3EFB53A64C5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TemplafyTemplateConfiguration><![CDATA[{"elementsMetadata":[],"transformationConfigurations":[],"templateName":"Presentation","templateDescription":"","enableDocumentContentUpdater":true,"version":"2.0"}]]></TemplafyTemplateConfiguration>
</file>

<file path=customXml/item2.xml><?xml version="1.0" encoding="utf-8"?>
<TemplafySlideTemplateConfiguration><![CDATA[{"slideVersion":1,"isValidatorEnabled":false,"isLocked":false,"elementsMetadata":[],"slideId":"1376277920969392128","enableDocumentContentUpdater":false,"version":"2.0"}]]></TemplafySlideTemplate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slideVersion":1,"isValidatorEnabled":false,"isLocked":false,"elementsMetadata":[],"slideId":"1376277920969392128","enableDocumentContentUpdater":false,"version":"2.0"}]]></TemplafySlideTemplateConfiguration>
</file>

<file path=customXml/item5.xml><?xml version="1.0" encoding="utf-8"?>
<TemplafyFormConfiguration><![CDATA[{"formFields":[],"formDataEntries":[]}]]></TemplafyFormConfiguration>
</file>

<file path=customXml/item6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EFA5CDCF-16DD-4DB1-91D2-3E7E38E2C6EC}">
  <ds:schemaRefs/>
</ds:datastoreItem>
</file>

<file path=customXml/itemProps2.xml><?xml version="1.0" encoding="utf-8"?>
<ds:datastoreItem xmlns:ds="http://schemas.openxmlformats.org/officeDocument/2006/customXml" ds:itemID="{3FB3BAAE-737F-4C13-B093-4FFD23BD3FD1}">
  <ds:schemaRefs/>
</ds:datastoreItem>
</file>

<file path=customXml/itemProps3.xml><?xml version="1.0" encoding="utf-8"?>
<ds:datastoreItem xmlns:ds="http://schemas.openxmlformats.org/officeDocument/2006/customXml" ds:itemID="{43296A9E-D23E-4A3B-B2BC-D65B2E63B73D}">
  <ds:schemaRefs/>
</ds:datastoreItem>
</file>

<file path=customXml/itemProps4.xml><?xml version="1.0" encoding="utf-8"?>
<ds:datastoreItem xmlns:ds="http://schemas.openxmlformats.org/officeDocument/2006/customXml" ds:itemID="{61B9BF6F-84DD-4AC8-98CD-F4F7E573D433}">
  <ds:schemaRefs/>
</ds:datastoreItem>
</file>

<file path=customXml/itemProps5.xml><?xml version="1.0" encoding="utf-8"?>
<ds:datastoreItem xmlns:ds="http://schemas.openxmlformats.org/officeDocument/2006/customXml" ds:itemID="{BD10FCF6-6770-4849-9E3F-BEA223B71F90}">
  <ds:schemaRefs/>
</ds:datastoreItem>
</file>

<file path=customXml/itemProps6.xml><?xml version="1.0" encoding="utf-8"?>
<ds:datastoreItem xmlns:ds="http://schemas.openxmlformats.org/officeDocument/2006/customXml" ds:itemID="{DC716A20-7CA5-4B4D-BE83-0E2FCC6E5920}">
  <ds:schemaRefs/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loitte Brand Theme 2025</Template>
  <TotalTime>5</TotalTime>
  <Words>1225</Words>
  <Application>Microsoft Office PowerPoint</Application>
  <PresentationFormat>Panorámica</PresentationFormat>
  <Paragraphs>223</Paragraphs>
  <Slides>10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22" baseType="lpstr">
      <vt:lpstr>Aptos</vt:lpstr>
      <vt:lpstr>Arial</vt:lpstr>
      <vt:lpstr>Bahnschrift</vt:lpstr>
      <vt:lpstr>Calibri</vt:lpstr>
      <vt:lpstr>Calibri Light</vt:lpstr>
      <vt:lpstr>Open Sans</vt:lpstr>
      <vt:lpstr>Trebuchet MS</vt:lpstr>
      <vt:lpstr>Verdana</vt:lpstr>
      <vt:lpstr>Wingdings</vt:lpstr>
      <vt:lpstr>Wingdings 2</vt:lpstr>
      <vt:lpstr>Deloitte Brand Theme 26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ulido Vicente, David</dc:creator>
  <cp:lastModifiedBy>EDUARDO PEREZ CEBOLLADA</cp:lastModifiedBy>
  <cp:revision>4</cp:revision>
  <dcterms:created xsi:type="dcterms:W3CDTF">2026-01-30T07:02:40Z</dcterms:created>
  <dcterms:modified xsi:type="dcterms:W3CDTF">2026-06-22T10:4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6-01-29T09:30:37</vt:lpwstr>
  </property>
  <property fmtid="{D5CDD505-2E9C-101B-9397-08002B2CF9AE}" pid="3" name="TemplafyTenantId">
    <vt:lpwstr>deloittespain</vt:lpwstr>
  </property>
  <property fmtid="{D5CDD505-2E9C-101B-9397-08002B2CF9AE}" pid="4" name="TemplafyTemplateId">
    <vt:lpwstr>1376277911925687570</vt:lpwstr>
  </property>
  <property fmtid="{D5CDD505-2E9C-101B-9397-08002B2CF9AE}" pid="5" name="TemplafyUserProfileId">
    <vt:lpwstr>1227190431616073736</vt:lpwstr>
  </property>
  <property fmtid="{D5CDD505-2E9C-101B-9397-08002B2CF9AE}" pid="6" name="TemplafyLanguageCode">
    <vt:lpwstr>es-ES</vt:lpwstr>
  </property>
  <property fmtid="{D5CDD505-2E9C-101B-9397-08002B2CF9AE}" pid="7" name="TemplafyFromBlank">
    <vt:bool>true</vt:bool>
  </property>
</Properties>
</file>